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1"/>
    <p:sldMasterId id="2147484035" r:id="rId42"/>
  </p:sldMasterIdLst>
  <p:notesMasterIdLst>
    <p:notesMasterId r:id="rId58"/>
  </p:notesMasterIdLst>
  <p:sldIdLst>
    <p:sldId id="2076137618" r:id="rId43"/>
    <p:sldId id="257" r:id="rId44"/>
    <p:sldId id="2076137621" r:id="rId45"/>
    <p:sldId id="271" r:id="rId46"/>
    <p:sldId id="275" r:id="rId47"/>
    <p:sldId id="2076136466" r:id="rId48"/>
    <p:sldId id="272" r:id="rId49"/>
    <p:sldId id="2076137620" r:id="rId50"/>
    <p:sldId id="278" r:id="rId51"/>
    <p:sldId id="287" r:id="rId52"/>
    <p:sldId id="2076136465" r:id="rId53"/>
    <p:sldId id="282" r:id="rId54"/>
    <p:sldId id="2076137623" r:id="rId55"/>
    <p:sldId id="2076137624" r:id="rId56"/>
    <p:sldId id="269" r:id="rId57"/>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112176-E483-44E3-9D07-F05596365046}" v="9" dt="2022-03-18T11:37:34.21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95272" autoAdjust="0"/>
  </p:normalViewPr>
  <p:slideViewPr>
    <p:cSldViewPr snapToGrid="0">
      <p:cViewPr varScale="1">
        <p:scale>
          <a:sx n="105" d="100"/>
          <a:sy n="105" d="100"/>
        </p:scale>
        <p:origin x="780" y="108"/>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slideMaster" Target="slideMasters/slideMaster2.xml"/><Relationship Id="rId47" Type="http://schemas.openxmlformats.org/officeDocument/2006/relationships/slide" Target="slides/slide5.xml"/><Relationship Id="rId50" Type="http://schemas.openxmlformats.org/officeDocument/2006/relationships/slide" Target="slides/slide8.xml"/><Relationship Id="rId55" Type="http://schemas.openxmlformats.org/officeDocument/2006/relationships/slide" Target="slides/slide13.xml"/><Relationship Id="rId63"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slide" Target="slides/slide3.xml"/><Relationship Id="rId53" Type="http://schemas.openxmlformats.org/officeDocument/2006/relationships/slide" Target="slides/slide11.xml"/><Relationship Id="rId58" Type="http://schemas.openxmlformats.org/officeDocument/2006/relationships/notesMaster" Target="notesMasters/notesMaster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microsoft.com/office/2016/11/relationships/changesInfo" Target="changesInfos/changesInfo1.xml"/><Relationship Id="rId8" Type="http://schemas.openxmlformats.org/officeDocument/2006/relationships/customXml" Target="../customXml/item8.xml"/><Relationship Id="rId51" Type="http://schemas.openxmlformats.org/officeDocument/2006/relationships/slide" Target="slides/slide9.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4.xml"/><Relationship Id="rId59" Type="http://schemas.openxmlformats.org/officeDocument/2006/relationships/tags" Target="tags/tag1.xml"/><Relationship Id="rId20" Type="http://schemas.openxmlformats.org/officeDocument/2006/relationships/customXml" Target="../customXml/item20.xml"/><Relationship Id="rId41" Type="http://schemas.openxmlformats.org/officeDocument/2006/relationships/slideMaster" Target="slideMasters/slideMaster1.xml"/><Relationship Id="rId54" Type="http://schemas.openxmlformats.org/officeDocument/2006/relationships/slide" Target="slides/slide12.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7.xml"/><Relationship Id="rId57" Type="http://schemas.openxmlformats.org/officeDocument/2006/relationships/slide" Target="slides/slide1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at Odabasi" userId="S::muratod@microsoft.com::d77b5acb-2443-4df7-b8cb-ac216c1fac5a" providerId="AD" clId="Web-{C647A2FD-1113-21CE-E709-EB57DC5DC146}"/>
    <pc:docChg chg="modSld">
      <pc:chgData name="Murat Odabasi" userId="S::muratod@microsoft.com::d77b5acb-2443-4df7-b8cb-ac216c1fac5a" providerId="AD" clId="Web-{C647A2FD-1113-21CE-E709-EB57DC5DC146}" dt="2021-08-27T16:05:33.373" v="3" actId="20577"/>
      <pc:docMkLst>
        <pc:docMk/>
      </pc:docMkLst>
      <pc:sldChg chg="modSp">
        <pc:chgData name="Murat Odabasi" userId="S::muratod@microsoft.com::d77b5acb-2443-4df7-b8cb-ac216c1fac5a" providerId="AD" clId="Web-{C647A2FD-1113-21CE-E709-EB57DC5DC146}" dt="2021-08-27T16:05:33.373" v="3" actId="20577"/>
        <pc:sldMkLst>
          <pc:docMk/>
          <pc:sldMk cId="4145703054" sldId="265"/>
        </pc:sldMkLst>
        <pc:spChg chg="mod">
          <ac:chgData name="Murat Odabasi" userId="S::muratod@microsoft.com::d77b5acb-2443-4df7-b8cb-ac216c1fac5a" providerId="AD" clId="Web-{C647A2FD-1113-21CE-E709-EB57DC5DC146}" dt="2021-08-27T16:05:33.373" v="3" actId="20577"/>
          <ac:spMkLst>
            <pc:docMk/>
            <pc:sldMk cId="4145703054" sldId="265"/>
            <ac:spMk id="15" creationId="{6DAA8F88-5BE5-4DEB-B8E1-CCA52313CEB8}"/>
          </ac:spMkLst>
        </pc:spChg>
      </pc:sldChg>
    </pc:docChg>
  </pc:docChgLst>
  <pc:docChgLst>
    <pc:chgData name="Murat Odabasi" userId="S::muratod@microsoft.com::d77b5acb-2443-4df7-b8cb-ac216c1fac5a" providerId="AD" clId="Web-{5A276105-813B-E576-863E-CFA5186DB1E5}"/>
    <pc:docChg chg="modSld">
      <pc:chgData name="Murat Odabasi" userId="S::muratod@microsoft.com::d77b5acb-2443-4df7-b8cb-ac216c1fac5a" providerId="AD" clId="Web-{5A276105-813B-E576-863E-CFA5186DB1E5}" dt="2020-04-08T18:17:50.984" v="2" actId="20577"/>
      <pc:docMkLst>
        <pc:docMk/>
      </pc:docMkLst>
      <pc:sldChg chg="modSp">
        <pc:chgData name="Murat Odabasi" userId="S::muratod@microsoft.com::d77b5acb-2443-4df7-b8cb-ac216c1fac5a" providerId="AD" clId="Web-{5A276105-813B-E576-863E-CFA5186DB1E5}" dt="2020-04-08T18:17:49.063" v="0" actId="20577"/>
        <pc:sldMkLst>
          <pc:docMk/>
          <pc:sldMk cId="1732864890" sldId="260"/>
        </pc:sldMkLst>
        <pc:spChg chg="mod">
          <ac:chgData name="Murat Odabasi" userId="S::muratod@microsoft.com::d77b5acb-2443-4df7-b8cb-ac216c1fac5a" providerId="AD" clId="Web-{5A276105-813B-E576-863E-CFA5186DB1E5}" dt="2020-04-08T18:17:49.063" v="0" actId="20577"/>
          <ac:spMkLst>
            <pc:docMk/>
            <pc:sldMk cId="1732864890" sldId="260"/>
            <ac:spMk id="4" creationId="{3BDD850C-29B9-4641-B580-0B91B9EBAE00}"/>
          </ac:spMkLst>
        </pc:spChg>
      </pc:sldChg>
    </pc:docChg>
  </pc:docChgLst>
  <pc:docChgLst>
    <pc:chgData name="Petri Puustinen" userId="afdc5376-b007-4d8e-9c19-07b3fbb81413" providerId="ADAL" clId="{FC14E4CB-4893-40FE-8618-DCC756F9F360}"/>
    <pc:docChg chg="modSld sldOrd">
      <pc:chgData name="Petri Puustinen" userId="afdc5376-b007-4d8e-9c19-07b3fbb81413" providerId="ADAL" clId="{FC14E4CB-4893-40FE-8618-DCC756F9F360}" dt="2022-02-21T06:47:57.541" v="7"/>
      <pc:docMkLst>
        <pc:docMk/>
      </pc:docMkLst>
      <pc:sldChg chg="ord">
        <pc:chgData name="Petri Puustinen" userId="afdc5376-b007-4d8e-9c19-07b3fbb81413" providerId="ADAL" clId="{FC14E4CB-4893-40FE-8618-DCC756F9F360}" dt="2022-02-21T06:45:45.921" v="1"/>
        <pc:sldMkLst>
          <pc:docMk/>
          <pc:sldMk cId="2796827562" sldId="275"/>
        </pc:sldMkLst>
      </pc:sldChg>
      <pc:sldChg chg="ord">
        <pc:chgData name="Petri Puustinen" userId="afdc5376-b007-4d8e-9c19-07b3fbb81413" providerId="ADAL" clId="{FC14E4CB-4893-40FE-8618-DCC756F9F360}" dt="2022-02-21T06:47:57.541" v="7"/>
        <pc:sldMkLst>
          <pc:docMk/>
          <pc:sldMk cId="521732247" sldId="2076137620"/>
        </pc:sldMkLst>
      </pc:sldChg>
    </pc:docChg>
  </pc:docChgLst>
  <pc:docChgLst>
    <pc:chgData name="Devid Treuling" userId="59319ebe-00e0-4bed-b2ef-326bd7e50483" providerId="ADAL" clId="{398C985C-4939-4904-9544-A192F358B56A}"/>
    <pc:docChg chg="undo custSel addSld delSld modSld addMainMaster delMainMaster modMainMaster">
      <pc:chgData name="Devid Treuling" userId="59319ebe-00e0-4bed-b2ef-326bd7e50483" providerId="ADAL" clId="{398C985C-4939-4904-9544-A192F358B56A}" dt="2020-05-20T16:13:01.605" v="776" actId="2696"/>
      <pc:docMkLst>
        <pc:docMk/>
      </pc:docMkLst>
      <pc:sldChg chg="modSp modTransition">
        <pc:chgData name="Devid Treuling" userId="59319ebe-00e0-4bed-b2ef-326bd7e50483" providerId="ADAL" clId="{398C985C-4939-4904-9544-A192F358B56A}" dt="2020-05-20T16:13:01.482" v="693"/>
        <pc:sldMkLst>
          <pc:docMk/>
          <pc:sldMk cId="2181956486" sldId="256"/>
        </pc:sldMkLst>
        <pc:spChg chg="mod">
          <ac:chgData name="Devid Treuling" userId="59319ebe-00e0-4bed-b2ef-326bd7e50483" providerId="ADAL" clId="{398C985C-4939-4904-9544-A192F358B56A}" dt="2020-05-20T16:13:00.795" v="600"/>
          <ac:spMkLst>
            <pc:docMk/>
            <pc:sldMk cId="2181956486" sldId="256"/>
            <ac:spMk id="4" creationId="{00000000-0000-0000-0000-000000000000}"/>
          </ac:spMkLst>
        </pc:spChg>
        <pc:spChg chg="mod">
          <ac:chgData name="Devid Treuling" userId="59319ebe-00e0-4bed-b2ef-326bd7e50483" providerId="ADAL" clId="{398C985C-4939-4904-9544-A192F358B56A}" dt="2020-05-20T16:13:00.795" v="600"/>
          <ac:spMkLst>
            <pc:docMk/>
            <pc:sldMk cId="2181956486" sldId="256"/>
            <ac:spMk id="6" creationId="{12808BD5-6BEE-4164-9264-E55A823F2E3D}"/>
          </ac:spMkLst>
        </pc:spChg>
        <pc:picChg chg="mod">
          <ac:chgData name="Devid Treuling" userId="59319ebe-00e0-4bed-b2ef-326bd7e50483" providerId="ADAL" clId="{398C985C-4939-4904-9544-A192F358B56A}" dt="2020-05-20T16:13:00.795" v="600"/>
          <ac:picMkLst>
            <pc:docMk/>
            <pc:sldMk cId="2181956486" sldId="256"/>
            <ac:picMk id="8" creationId="{DEBB7B6C-5800-4217-A7DA-4983C5C30F7A}"/>
          </ac:picMkLst>
        </pc:picChg>
      </pc:sldChg>
      <pc:sldChg chg="modTransition">
        <pc:chgData name="Devid Treuling" userId="59319ebe-00e0-4bed-b2ef-326bd7e50483" providerId="ADAL" clId="{398C985C-4939-4904-9544-A192F358B56A}" dt="2020-05-20T16:13:01.486" v="698"/>
        <pc:sldMkLst>
          <pc:docMk/>
          <pc:sldMk cId="2242852715" sldId="257"/>
        </pc:sldMkLst>
      </pc:sldChg>
      <pc:sldChg chg="modSp modTransition">
        <pc:chgData name="Devid Treuling" userId="59319ebe-00e0-4bed-b2ef-326bd7e50483" providerId="ADAL" clId="{398C985C-4939-4904-9544-A192F358B56A}" dt="2020-05-20T16:13:01.490" v="703"/>
        <pc:sldMkLst>
          <pc:docMk/>
          <pc:sldMk cId="3001679096" sldId="258"/>
        </pc:sldMkLst>
        <pc:spChg chg="mod">
          <ac:chgData name="Devid Treuling" userId="59319ebe-00e0-4bed-b2ef-326bd7e50483" providerId="ADAL" clId="{398C985C-4939-4904-9544-A192F358B56A}" dt="2020-05-20T16:13:00.795" v="600"/>
          <ac:spMkLst>
            <pc:docMk/>
            <pc:sldMk cId="3001679096" sldId="258"/>
            <ac:spMk id="2" creationId="{0D571322-9F37-477D-9B5B-EBF49D8B1DE4}"/>
          </ac:spMkLst>
        </pc:spChg>
        <pc:spChg chg="mod">
          <ac:chgData name="Devid Treuling" userId="59319ebe-00e0-4bed-b2ef-326bd7e50483" providerId="ADAL" clId="{398C985C-4939-4904-9544-A192F358B56A}" dt="2020-05-20T16:13:00.795" v="600"/>
          <ac:spMkLst>
            <pc:docMk/>
            <pc:sldMk cId="3001679096" sldId="258"/>
            <ac:spMk id="3" creationId="{355F4707-2382-4D2B-8385-1E54F39F514C}"/>
          </ac:spMkLst>
        </pc:spChg>
      </pc:sldChg>
      <pc:sldChg chg="modSp modTransition">
        <pc:chgData name="Devid Treuling" userId="59319ebe-00e0-4bed-b2ef-326bd7e50483" providerId="ADAL" clId="{398C985C-4939-4904-9544-A192F358B56A}" dt="2020-05-20T16:13:01.495" v="708"/>
        <pc:sldMkLst>
          <pc:docMk/>
          <pc:sldMk cId="1635881331" sldId="259"/>
        </pc:sldMkLst>
        <pc:spChg chg="mod">
          <ac:chgData name="Devid Treuling" userId="59319ebe-00e0-4bed-b2ef-326bd7e50483" providerId="ADAL" clId="{398C985C-4939-4904-9544-A192F358B56A}" dt="2020-05-20T16:13:00.795" v="600"/>
          <ac:spMkLst>
            <pc:docMk/>
            <pc:sldMk cId="1635881331" sldId="259"/>
            <ac:spMk id="5" creationId="{27132E6D-A6EE-402B-895A-D0B053AB702A}"/>
          </ac:spMkLst>
        </pc:spChg>
      </pc:sldChg>
      <pc:sldChg chg="modSp modTransition">
        <pc:chgData name="Devid Treuling" userId="59319ebe-00e0-4bed-b2ef-326bd7e50483" providerId="ADAL" clId="{398C985C-4939-4904-9544-A192F358B56A}" dt="2020-05-20T16:13:01.499" v="713"/>
        <pc:sldMkLst>
          <pc:docMk/>
          <pc:sldMk cId="1732864890" sldId="260"/>
        </pc:sldMkLst>
        <pc:spChg chg="mod">
          <ac:chgData name="Devid Treuling" userId="59319ebe-00e0-4bed-b2ef-326bd7e50483" providerId="ADAL" clId="{398C985C-4939-4904-9544-A192F358B56A}" dt="2020-05-20T16:13:00.795" v="600"/>
          <ac:spMkLst>
            <pc:docMk/>
            <pc:sldMk cId="1732864890" sldId="260"/>
            <ac:spMk id="4" creationId="{3BDD850C-29B9-4641-B580-0B91B9EBAE00}"/>
          </ac:spMkLst>
        </pc:spChg>
        <pc:spChg chg="mod">
          <ac:chgData name="Devid Treuling" userId="59319ebe-00e0-4bed-b2ef-326bd7e50483" providerId="ADAL" clId="{398C985C-4939-4904-9544-A192F358B56A}" dt="2020-05-20T16:13:00.795" v="600"/>
          <ac:spMkLst>
            <pc:docMk/>
            <pc:sldMk cId="1732864890" sldId="260"/>
            <ac:spMk id="5" creationId="{55182462-DFDF-4D48-A92C-42FD52821C4E}"/>
          </ac:spMkLst>
        </pc:spChg>
        <pc:spChg chg="mod">
          <ac:chgData name="Devid Treuling" userId="59319ebe-00e0-4bed-b2ef-326bd7e50483" providerId="ADAL" clId="{398C985C-4939-4904-9544-A192F358B56A}" dt="2020-05-20T16:13:00.795" v="600"/>
          <ac:spMkLst>
            <pc:docMk/>
            <pc:sldMk cId="1732864890" sldId="260"/>
            <ac:spMk id="7" creationId="{D26C7312-6643-4F44-86B4-FA64F536177B}"/>
          </ac:spMkLst>
        </pc:spChg>
      </pc:sldChg>
      <pc:sldChg chg="modSp modTransition">
        <pc:chgData name="Devid Treuling" userId="59319ebe-00e0-4bed-b2ef-326bd7e50483" providerId="ADAL" clId="{398C985C-4939-4904-9544-A192F358B56A}" dt="2020-05-20T16:13:01.502" v="718"/>
        <pc:sldMkLst>
          <pc:docMk/>
          <pc:sldMk cId="914707366" sldId="261"/>
        </pc:sldMkLst>
        <pc:spChg chg="mod">
          <ac:chgData name="Devid Treuling" userId="59319ebe-00e0-4bed-b2ef-326bd7e50483" providerId="ADAL" clId="{398C985C-4939-4904-9544-A192F358B56A}" dt="2020-05-20T16:13:00.795" v="600"/>
          <ac:spMkLst>
            <pc:docMk/>
            <pc:sldMk cId="914707366" sldId="261"/>
            <ac:spMk id="2"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3"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12" creationId="{C4226080-F4D3-473F-8324-DFB4ADA600CB}"/>
          </ac:spMkLst>
        </pc:spChg>
      </pc:sldChg>
      <pc:sldChg chg="modSp modTransition">
        <pc:chgData name="Devid Treuling" userId="59319ebe-00e0-4bed-b2ef-326bd7e50483" providerId="ADAL" clId="{398C985C-4939-4904-9544-A192F358B56A}" dt="2020-05-20T16:13:01.505" v="723"/>
        <pc:sldMkLst>
          <pc:docMk/>
          <pc:sldMk cId="2379444036" sldId="262"/>
        </pc:sldMkLst>
        <pc:spChg chg="mod">
          <ac:chgData name="Devid Treuling" userId="59319ebe-00e0-4bed-b2ef-326bd7e50483" providerId="ADAL" clId="{398C985C-4939-4904-9544-A192F358B56A}" dt="2020-05-20T16:13:00.795" v="600"/>
          <ac:spMkLst>
            <pc:docMk/>
            <pc:sldMk cId="2379444036" sldId="262"/>
            <ac:spMk id="4" creationId="{9CBC6F63-616D-478D-A91D-8B071350BF64}"/>
          </ac:spMkLst>
        </pc:spChg>
      </pc:sldChg>
      <pc:sldChg chg="modSp modTransition">
        <pc:chgData name="Devid Treuling" userId="59319ebe-00e0-4bed-b2ef-326bd7e50483" providerId="ADAL" clId="{398C985C-4939-4904-9544-A192F358B56A}" dt="2020-05-20T16:13:01.507" v="728"/>
        <pc:sldMkLst>
          <pc:docMk/>
          <pc:sldMk cId="1385431110" sldId="263"/>
        </pc:sldMkLst>
        <pc:spChg chg="mod">
          <ac:chgData name="Devid Treuling" userId="59319ebe-00e0-4bed-b2ef-326bd7e50483" providerId="ADAL" clId="{398C985C-4939-4904-9544-A192F358B56A}" dt="2020-05-20T16:13:00.795" v="600"/>
          <ac:spMkLst>
            <pc:docMk/>
            <pc:sldMk cId="1385431110" sldId="263"/>
            <ac:spMk id="2" creationId="{E0DCCC6D-05C4-4092-8C9D-AA0D46C1A281}"/>
          </ac:spMkLst>
        </pc:spChg>
        <pc:spChg chg="mod">
          <ac:chgData name="Devid Treuling" userId="59319ebe-00e0-4bed-b2ef-326bd7e50483" providerId="ADAL" clId="{398C985C-4939-4904-9544-A192F358B56A}" dt="2020-05-20T16:13:00.795" v="600"/>
          <ac:spMkLst>
            <pc:docMk/>
            <pc:sldMk cId="1385431110" sldId="263"/>
            <ac:spMk id="3" creationId="{00000000-0000-0000-0000-000000000000}"/>
          </ac:spMkLst>
        </pc:spChg>
      </pc:sldChg>
      <pc:sldChg chg="modSp modTransition">
        <pc:chgData name="Devid Treuling" userId="59319ebe-00e0-4bed-b2ef-326bd7e50483" providerId="ADAL" clId="{398C985C-4939-4904-9544-A192F358B56A}" dt="2020-05-20T16:13:01.510" v="733"/>
        <pc:sldMkLst>
          <pc:docMk/>
          <pc:sldMk cId="3996308554" sldId="264"/>
        </pc:sldMkLst>
        <pc:spChg chg="mod">
          <ac:chgData name="Devid Treuling" userId="59319ebe-00e0-4bed-b2ef-326bd7e50483" providerId="ADAL" clId="{398C985C-4939-4904-9544-A192F358B56A}" dt="2020-05-20T16:13:00.795" v="600"/>
          <ac:spMkLst>
            <pc:docMk/>
            <pc:sldMk cId="3996308554" sldId="264"/>
            <ac:spMk id="3" creationId="{8F64A22E-2B43-4FC6-AF08-0CDB3F9E9269}"/>
          </ac:spMkLst>
        </pc:spChg>
        <pc:spChg chg="mod">
          <ac:chgData name="Devid Treuling" userId="59319ebe-00e0-4bed-b2ef-326bd7e50483" providerId="ADAL" clId="{398C985C-4939-4904-9544-A192F358B56A}" dt="2020-05-20T16:13:00.795" v="600"/>
          <ac:spMkLst>
            <pc:docMk/>
            <pc:sldMk cId="3996308554" sldId="264"/>
            <ac:spMk id="7" creationId="{B0504AD0-36BB-4D91-BEB6-18A5CDC8B4E0}"/>
          </ac:spMkLst>
        </pc:spChg>
        <pc:picChg chg="mod">
          <ac:chgData name="Devid Treuling" userId="59319ebe-00e0-4bed-b2ef-326bd7e50483" providerId="ADAL" clId="{398C985C-4939-4904-9544-A192F358B56A}" dt="2020-05-20T16:13:00.795" v="600"/>
          <ac:picMkLst>
            <pc:docMk/>
            <pc:sldMk cId="3996308554" sldId="264"/>
            <ac:picMk id="16" creationId="{F27CF966-34DA-4658-8DA3-65A171614831}"/>
          </ac:picMkLst>
        </pc:picChg>
      </pc:sldChg>
      <pc:sldChg chg="modSp modTransition">
        <pc:chgData name="Devid Treuling" userId="59319ebe-00e0-4bed-b2ef-326bd7e50483" providerId="ADAL" clId="{398C985C-4939-4904-9544-A192F358B56A}" dt="2020-05-20T16:13:01.514" v="738"/>
        <pc:sldMkLst>
          <pc:docMk/>
          <pc:sldMk cId="4145703054" sldId="265"/>
        </pc:sldMkLst>
        <pc:spChg chg="mod">
          <ac:chgData name="Devid Treuling" userId="59319ebe-00e0-4bed-b2ef-326bd7e50483" providerId="ADAL" clId="{398C985C-4939-4904-9544-A192F358B56A}" dt="2020-05-20T16:13:00.795" v="600"/>
          <ac:spMkLst>
            <pc:docMk/>
            <pc:sldMk cId="4145703054" sldId="265"/>
            <ac:spMk id="2" creationId="{4615BB0C-211A-4A6B-A4FE-D9C725309C49}"/>
          </ac:spMkLst>
        </pc:spChg>
        <pc:spChg chg="mod">
          <ac:chgData name="Devid Treuling" userId="59319ebe-00e0-4bed-b2ef-326bd7e50483" providerId="ADAL" clId="{398C985C-4939-4904-9544-A192F358B56A}" dt="2020-05-20T16:13:00.795" v="600"/>
          <ac:spMkLst>
            <pc:docMk/>
            <pc:sldMk cId="4145703054" sldId="265"/>
            <ac:spMk id="15" creationId="{6DAA8F88-5BE5-4DEB-B8E1-CCA52313CEB8}"/>
          </ac:spMkLst>
        </pc:spChg>
        <pc:picChg chg="mod">
          <ac:chgData name="Devid Treuling" userId="59319ebe-00e0-4bed-b2ef-326bd7e50483" providerId="ADAL" clId="{398C985C-4939-4904-9544-A192F358B56A}" dt="2020-05-20T16:13:00.795" v="600"/>
          <ac:picMkLst>
            <pc:docMk/>
            <pc:sldMk cId="4145703054" sldId="265"/>
            <ac:picMk id="36" creationId="{E609CE4D-9188-4CF4-804D-5F16F38688F4}"/>
          </ac:picMkLst>
        </pc:picChg>
      </pc:sldChg>
      <pc:sldChg chg="modSp modTransition">
        <pc:chgData name="Devid Treuling" userId="59319ebe-00e0-4bed-b2ef-326bd7e50483" providerId="ADAL" clId="{398C985C-4939-4904-9544-A192F358B56A}" dt="2020-05-20T16:13:01.517" v="743"/>
        <pc:sldMkLst>
          <pc:docMk/>
          <pc:sldMk cId="3977638465" sldId="266"/>
        </pc:sldMkLst>
        <pc:spChg chg="mod">
          <ac:chgData name="Devid Treuling" userId="59319ebe-00e0-4bed-b2ef-326bd7e50483" providerId="ADAL" clId="{398C985C-4939-4904-9544-A192F358B56A}" dt="2020-05-20T16:13:00.795" v="600"/>
          <ac:spMkLst>
            <pc:docMk/>
            <pc:sldMk cId="3977638465" sldId="266"/>
            <ac:spMk id="2" creationId="{BC57B38C-8413-4861-A4F5-7DF656AEAD0D}"/>
          </ac:spMkLst>
        </pc:spChg>
        <pc:spChg chg="mod">
          <ac:chgData name="Devid Treuling" userId="59319ebe-00e0-4bed-b2ef-326bd7e50483" providerId="ADAL" clId="{398C985C-4939-4904-9544-A192F358B56A}" dt="2020-05-20T16:13:00.795" v="600"/>
          <ac:spMkLst>
            <pc:docMk/>
            <pc:sldMk cId="3977638465" sldId="266"/>
            <ac:spMk id="10" creationId="{3AEB9F1D-7FAA-4E4F-8117-85F44C19869A}"/>
          </ac:spMkLst>
        </pc:spChg>
        <pc:spChg chg="mod">
          <ac:chgData name="Devid Treuling" userId="59319ebe-00e0-4bed-b2ef-326bd7e50483" providerId="ADAL" clId="{398C985C-4939-4904-9544-A192F358B56A}" dt="2020-05-20T16:13:00.795" v="600"/>
          <ac:spMkLst>
            <pc:docMk/>
            <pc:sldMk cId="3977638465" sldId="266"/>
            <ac:spMk id="11" creationId="{F520343A-4103-4113-8E4D-00C78583B1A1}"/>
          </ac:spMkLst>
        </pc:spChg>
      </pc:sldChg>
      <pc:sldChg chg="modSp modTransition">
        <pc:chgData name="Devid Treuling" userId="59319ebe-00e0-4bed-b2ef-326bd7e50483" providerId="ADAL" clId="{398C985C-4939-4904-9544-A192F358B56A}" dt="2020-05-20T16:13:01.519" v="748"/>
        <pc:sldMkLst>
          <pc:docMk/>
          <pc:sldMk cId="3596592614" sldId="267"/>
        </pc:sldMkLst>
        <pc:spChg chg="mod">
          <ac:chgData name="Devid Treuling" userId="59319ebe-00e0-4bed-b2ef-326bd7e50483" providerId="ADAL" clId="{398C985C-4939-4904-9544-A192F358B56A}" dt="2020-05-20T16:13:00.795" v="600"/>
          <ac:spMkLst>
            <pc:docMk/>
            <pc:sldMk cId="3596592614" sldId="267"/>
            <ac:spMk id="5" creationId="{27132E6D-A6EE-402B-895A-D0B053AB702A}"/>
          </ac:spMkLst>
        </pc:spChg>
      </pc:sldChg>
      <pc:sldChg chg="modSp modTransition">
        <pc:chgData name="Devid Treuling" userId="59319ebe-00e0-4bed-b2ef-326bd7e50483" providerId="ADAL" clId="{398C985C-4939-4904-9544-A192F358B56A}" dt="2020-05-20T16:13:01.522" v="753"/>
        <pc:sldMkLst>
          <pc:docMk/>
          <pc:sldMk cId="2843332786" sldId="268"/>
        </pc:sldMkLst>
        <pc:spChg chg="mod">
          <ac:chgData name="Devid Treuling" userId="59319ebe-00e0-4bed-b2ef-326bd7e50483" providerId="ADAL" clId="{398C985C-4939-4904-9544-A192F358B56A}" dt="2020-05-20T16:13:00.795" v="600"/>
          <ac:spMkLst>
            <pc:docMk/>
            <pc:sldMk cId="2843332786" sldId="268"/>
            <ac:spMk id="2" creationId="{E0DCCC6D-05C4-4092-8C9D-AA0D46C1A281}"/>
          </ac:spMkLst>
        </pc:spChg>
        <pc:spChg chg="mod">
          <ac:chgData name="Devid Treuling" userId="59319ebe-00e0-4bed-b2ef-326bd7e50483" providerId="ADAL" clId="{398C985C-4939-4904-9544-A192F358B56A}" dt="2020-05-20T16:13:00.795" v="600"/>
          <ac:spMkLst>
            <pc:docMk/>
            <pc:sldMk cId="2843332786" sldId="268"/>
            <ac:spMk id="3" creationId="{00000000-0000-0000-0000-000000000000}"/>
          </ac:spMkLst>
        </pc:spChg>
      </pc:sldChg>
      <pc:sldChg chg="modTransition">
        <pc:chgData name="Devid Treuling" userId="59319ebe-00e0-4bed-b2ef-326bd7e50483" providerId="ADAL" clId="{398C985C-4939-4904-9544-A192F358B56A}" dt="2020-05-20T16:13:01.525" v="758"/>
        <pc:sldMkLst>
          <pc:docMk/>
          <pc:sldMk cId="1094208049" sldId="269"/>
        </pc:sldMkLst>
      </pc:sldChg>
      <pc:sldChg chg="modSp add del modTransition">
        <pc:chgData name="Devid Treuling" userId="59319ebe-00e0-4bed-b2ef-326bd7e50483" providerId="ADAL" clId="{398C985C-4939-4904-9544-A192F358B56A}" dt="2020-05-20T16:13:01.605" v="776" actId="2696"/>
        <pc:sldMkLst>
          <pc:docMk/>
          <pc:sldMk cId="335324268" sldId="270"/>
        </pc:sldMkLst>
        <pc:spChg chg="mod">
          <ac:chgData name="Devid Treuling" userId="59319ebe-00e0-4bed-b2ef-326bd7e50483" providerId="ADAL" clId="{398C985C-4939-4904-9544-A192F358B56A}" dt="2020-05-20T16:13:00.795" v="600"/>
          <ac:spMkLst>
            <pc:docMk/>
            <pc:sldMk cId="335324268" sldId="270"/>
            <ac:spMk id="2" creationId="{2D3A4FD7-13A3-4DA6-B45D-F9C53C9F2DBE}"/>
          </ac:spMkLst>
        </pc:spChg>
        <pc:spChg chg="mod">
          <ac:chgData name="Devid Treuling" userId="59319ebe-00e0-4bed-b2ef-326bd7e50483" providerId="ADAL" clId="{398C985C-4939-4904-9544-A192F358B56A}" dt="2020-05-20T16:13:00.795" v="600"/>
          <ac:spMkLst>
            <pc:docMk/>
            <pc:sldMk cId="335324268" sldId="270"/>
            <ac:spMk id="3" creationId="{E6E80BC3-0F20-4181-9AFB-A28E3E77BA45}"/>
          </ac:spMkLst>
        </pc:spChg>
      </pc:sldChg>
      <pc:sldChg chg="modSp add del modTransition">
        <pc:chgData name="Devid Treuling" userId="59319ebe-00e0-4bed-b2ef-326bd7e50483" providerId="ADAL" clId="{398C985C-4939-4904-9544-A192F358B56A}" dt="2020-05-20T16:08:52.991" v="596" actId="2696"/>
        <pc:sldMkLst>
          <pc:docMk/>
          <pc:sldMk cId="1931592040" sldId="270"/>
        </pc:sldMkLst>
        <pc:spChg chg="mod">
          <ac:chgData name="Devid Treuling" userId="59319ebe-00e0-4bed-b2ef-326bd7e50483" providerId="ADAL" clId="{398C985C-4939-4904-9544-A192F358B56A}" dt="2020-05-20T16:08:52.459" v="420"/>
          <ac:spMkLst>
            <pc:docMk/>
            <pc:sldMk cId="1931592040" sldId="270"/>
            <ac:spMk id="2" creationId="{766E78AD-CCC5-4C39-A7E3-1B005F93A143}"/>
          </ac:spMkLst>
        </pc:spChg>
        <pc:spChg chg="mod">
          <ac:chgData name="Devid Treuling" userId="59319ebe-00e0-4bed-b2ef-326bd7e50483" providerId="ADAL" clId="{398C985C-4939-4904-9544-A192F358B56A}" dt="2020-05-20T16:08:52.459" v="420"/>
          <ac:spMkLst>
            <pc:docMk/>
            <pc:sldMk cId="1931592040" sldId="270"/>
            <ac:spMk id="3" creationId="{D8FC1111-34E1-4977-A0CE-6FDBDFF0688B}"/>
          </ac:spMkLst>
        </pc:spChg>
      </pc:sldChg>
      <pc:sldChg chg="modSp add del modTransition">
        <pc:chgData name="Devid Treuling" userId="59319ebe-00e0-4bed-b2ef-326bd7e50483" providerId="ADAL" clId="{398C985C-4939-4904-9544-A192F358B56A}" dt="2020-05-20T16:05:25.617" v="416" actId="2696"/>
        <pc:sldMkLst>
          <pc:docMk/>
          <pc:sldMk cId="2023283921" sldId="270"/>
        </pc:sldMkLst>
        <pc:spChg chg="mod">
          <ac:chgData name="Devid Treuling" userId="59319ebe-00e0-4bed-b2ef-326bd7e50483" providerId="ADAL" clId="{398C985C-4939-4904-9544-A192F358B56A}" dt="2020-05-20T16:05:25.160" v="240"/>
          <ac:spMkLst>
            <pc:docMk/>
            <pc:sldMk cId="2023283921" sldId="270"/>
            <ac:spMk id="2" creationId="{F2EAFF10-CFA8-4D63-ADB3-61AB3556C466}"/>
          </ac:spMkLst>
        </pc:spChg>
        <pc:spChg chg="mod">
          <ac:chgData name="Devid Treuling" userId="59319ebe-00e0-4bed-b2ef-326bd7e50483" providerId="ADAL" clId="{398C985C-4939-4904-9544-A192F358B56A}" dt="2020-05-20T16:05:25.160" v="240"/>
          <ac:spMkLst>
            <pc:docMk/>
            <pc:sldMk cId="2023283921" sldId="270"/>
            <ac:spMk id="3" creationId="{3354AE07-D3B6-4077-B822-E8AC6663941E}"/>
          </ac:spMkLst>
        </pc:spChg>
      </pc:sldChg>
      <pc:sldChg chg="modSp add del modTransition">
        <pc:chgData name="Devid Treuling" userId="59319ebe-00e0-4bed-b2ef-326bd7e50483" providerId="ADAL" clId="{398C985C-4939-4904-9544-A192F358B56A}" dt="2020-05-20T16:04:46.399" v="237"/>
        <pc:sldMkLst>
          <pc:docMk/>
          <pc:sldMk cId="3909586908" sldId="270"/>
        </pc:sldMkLst>
        <pc:spChg chg="mod">
          <ac:chgData name="Devid Treuling" userId="59319ebe-00e0-4bed-b2ef-326bd7e50483" providerId="ADAL" clId="{398C985C-4939-4904-9544-A192F358B56A}" dt="2020-05-20T16:04:46.399" v="237"/>
          <ac:spMkLst>
            <pc:docMk/>
            <pc:sldMk cId="3909586908" sldId="270"/>
            <ac:spMk id="2" creationId="{85102FE9-E88C-4DA9-8EBD-3E4CB6203965}"/>
          </ac:spMkLst>
        </pc:spChg>
        <pc:spChg chg="mod">
          <ac:chgData name="Devid Treuling" userId="59319ebe-00e0-4bed-b2ef-326bd7e50483" providerId="ADAL" clId="{398C985C-4939-4904-9544-A192F358B56A}" dt="2020-05-20T16:04:46.399" v="237"/>
          <ac:spMkLst>
            <pc:docMk/>
            <pc:sldMk cId="3909586908" sldId="270"/>
            <ac:spMk id="3" creationId="{5C1E9712-EF32-4D11-942F-4A9E57123474}"/>
          </ac:spMkLst>
        </pc:spChg>
      </pc:sldChg>
      <pc:sldChg chg="add del">
        <pc:chgData name="Devid Treuling" userId="59319ebe-00e0-4bed-b2ef-326bd7e50483" providerId="ADAL" clId="{398C985C-4939-4904-9544-A192F358B56A}" dt="2020-05-20T16:08:52.559" v="436" actId="2696"/>
        <pc:sldMkLst>
          <pc:docMk/>
          <pc:sldMk cId="36924870" sldId="271"/>
        </pc:sldMkLst>
      </pc:sldChg>
      <pc:sldChg chg="add del">
        <pc:chgData name="Devid Treuling" userId="59319ebe-00e0-4bed-b2ef-326bd7e50483" providerId="ADAL" clId="{398C985C-4939-4904-9544-A192F358B56A}" dt="2020-05-20T16:13:00.898" v="606" actId="2696"/>
        <pc:sldMkLst>
          <pc:docMk/>
          <pc:sldMk cId="51638523" sldId="271"/>
        </pc:sldMkLst>
      </pc:sldChg>
      <pc:sldChg chg="add del">
        <pc:chgData name="Devid Treuling" userId="59319ebe-00e0-4bed-b2ef-326bd7e50483" providerId="ADAL" clId="{398C985C-4939-4904-9544-A192F358B56A}" dt="2020-05-20T16:08:52.516" v="426" actId="2696"/>
        <pc:sldMkLst>
          <pc:docMk/>
          <pc:sldMk cId="85159755" sldId="271"/>
        </pc:sldMkLst>
      </pc:sldChg>
      <pc:sldChg chg="add del">
        <pc:chgData name="Devid Treuling" userId="59319ebe-00e0-4bed-b2ef-326bd7e50483" providerId="ADAL" clId="{398C985C-4939-4904-9544-A192F358B56A}" dt="2020-05-20T16:08:52.591" v="444" actId="2696"/>
        <pc:sldMkLst>
          <pc:docMk/>
          <pc:sldMk cId="92762928" sldId="271"/>
        </pc:sldMkLst>
      </pc:sldChg>
      <pc:sldChg chg="add del">
        <pc:chgData name="Devid Treuling" userId="59319ebe-00e0-4bed-b2ef-326bd7e50483" providerId="ADAL" clId="{398C985C-4939-4904-9544-A192F358B56A}" dt="2020-05-20T16:08:52.610" v="448" actId="2696"/>
        <pc:sldMkLst>
          <pc:docMk/>
          <pc:sldMk cId="113612559" sldId="271"/>
        </pc:sldMkLst>
      </pc:sldChg>
      <pc:sldChg chg="add del">
        <pc:chgData name="Devid Treuling" userId="59319ebe-00e0-4bed-b2ef-326bd7e50483" providerId="ADAL" clId="{398C985C-4939-4904-9544-A192F358B56A}" dt="2020-05-20T16:13:00.865" v="602" actId="2696"/>
        <pc:sldMkLst>
          <pc:docMk/>
          <pc:sldMk cId="114021026" sldId="271"/>
        </pc:sldMkLst>
      </pc:sldChg>
      <pc:sldChg chg="add del">
        <pc:chgData name="Devid Treuling" userId="59319ebe-00e0-4bed-b2ef-326bd7e50483" providerId="ADAL" clId="{398C985C-4939-4904-9544-A192F358B56A}" dt="2020-05-20T16:08:52.682" v="464" actId="2696"/>
        <pc:sldMkLst>
          <pc:docMk/>
          <pc:sldMk cId="128138076" sldId="271"/>
        </pc:sldMkLst>
      </pc:sldChg>
      <pc:sldChg chg="add del">
        <pc:chgData name="Devid Treuling" userId="59319ebe-00e0-4bed-b2ef-326bd7e50483" providerId="ADAL" clId="{398C985C-4939-4904-9544-A192F358B56A}" dt="2020-05-20T16:13:00.881" v="604" actId="2696"/>
        <pc:sldMkLst>
          <pc:docMk/>
          <pc:sldMk cId="139511120" sldId="271"/>
        </pc:sldMkLst>
      </pc:sldChg>
      <pc:sldChg chg="add del">
        <pc:chgData name="Devid Treuling" userId="59319ebe-00e0-4bed-b2ef-326bd7e50483" providerId="ADAL" clId="{398C985C-4939-4904-9544-A192F358B56A}" dt="2020-05-20T16:05:25.346" v="290" actId="2696"/>
        <pc:sldMkLst>
          <pc:docMk/>
          <pc:sldMk cId="173472931" sldId="271"/>
        </pc:sldMkLst>
      </pc:sldChg>
      <pc:sldChg chg="add del">
        <pc:chgData name="Devid Treuling" userId="59319ebe-00e0-4bed-b2ef-326bd7e50483" providerId="ADAL" clId="{398C985C-4939-4904-9544-A192F358B56A}" dt="2020-05-20T16:13:01.376" v="680" actId="2696"/>
        <pc:sldMkLst>
          <pc:docMk/>
          <pc:sldMk cId="196676974" sldId="271"/>
        </pc:sldMkLst>
      </pc:sldChg>
      <pc:sldChg chg="add del">
        <pc:chgData name="Devid Treuling" userId="59319ebe-00e0-4bed-b2ef-326bd7e50483" providerId="ADAL" clId="{398C985C-4939-4904-9544-A192F358B56A}" dt="2020-05-20T16:13:00.963" v="616" actId="2696"/>
        <pc:sldMkLst>
          <pc:docMk/>
          <pc:sldMk cId="200661770" sldId="271"/>
        </pc:sldMkLst>
      </pc:sldChg>
      <pc:sldChg chg="add del">
        <pc:chgData name="Devid Treuling" userId="59319ebe-00e0-4bed-b2ef-326bd7e50483" providerId="ADAL" clId="{398C985C-4939-4904-9544-A192F358B56A}" dt="2020-05-20T16:13:01.247" v="660" actId="2696"/>
        <pc:sldMkLst>
          <pc:docMk/>
          <pc:sldMk cId="202848886" sldId="271"/>
        </pc:sldMkLst>
      </pc:sldChg>
      <pc:sldChg chg="add del">
        <pc:chgData name="Devid Treuling" userId="59319ebe-00e0-4bed-b2ef-326bd7e50483" providerId="ADAL" clId="{398C985C-4939-4904-9544-A192F358B56A}" dt="2020-05-20T16:13:01.010" v="624" actId="2696"/>
        <pc:sldMkLst>
          <pc:docMk/>
          <pc:sldMk cId="216730633" sldId="271"/>
        </pc:sldMkLst>
      </pc:sldChg>
      <pc:sldChg chg="add del">
        <pc:chgData name="Devid Treuling" userId="59319ebe-00e0-4bed-b2ef-326bd7e50483" providerId="ADAL" clId="{398C985C-4939-4904-9544-A192F358B56A}" dt="2020-05-20T16:04:46.399" v="237"/>
        <pc:sldMkLst>
          <pc:docMk/>
          <pc:sldMk cId="266340866" sldId="271"/>
        </pc:sldMkLst>
      </pc:sldChg>
      <pc:sldChg chg="add del">
        <pc:chgData name="Devid Treuling" userId="59319ebe-00e0-4bed-b2ef-326bd7e50483" providerId="ADAL" clId="{398C985C-4939-4904-9544-A192F358B56A}" dt="2020-05-20T16:04:46.399" v="237"/>
        <pc:sldMkLst>
          <pc:docMk/>
          <pc:sldMk cId="267317235" sldId="271"/>
        </pc:sldMkLst>
      </pc:sldChg>
      <pc:sldChg chg="add del">
        <pc:chgData name="Devid Treuling" userId="59319ebe-00e0-4bed-b2ef-326bd7e50483" providerId="ADAL" clId="{398C985C-4939-4904-9544-A192F358B56A}" dt="2020-05-20T16:05:25.279" v="272" actId="2696"/>
        <pc:sldMkLst>
          <pc:docMk/>
          <pc:sldMk cId="287192860" sldId="271"/>
        </pc:sldMkLst>
      </pc:sldChg>
      <pc:sldChg chg="add del">
        <pc:chgData name="Devid Treuling" userId="59319ebe-00e0-4bed-b2ef-326bd7e50483" providerId="ADAL" clId="{398C985C-4939-4904-9544-A192F358B56A}" dt="2020-05-20T16:04:46.399" v="237"/>
        <pc:sldMkLst>
          <pc:docMk/>
          <pc:sldMk cId="329814291" sldId="271"/>
        </pc:sldMkLst>
      </pc:sldChg>
      <pc:sldChg chg="add del">
        <pc:chgData name="Devid Treuling" userId="59319ebe-00e0-4bed-b2ef-326bd7e50483" providerId="ADAL" clId="{398C985C-4939-4904-9544-A192F358B56A}" dt="2020-05-20T16:08:52.543" v="432" actId="2696"/>
        <pc:sldMkLst>
          <pc:docMk/>
          <pc:sldMk cId="354991226" sldId="271"/>
        </pc:sldMkLst>
      </pc:sldChg>
      <pc:sldChg chg="add del">
        <pc:chgData name="Devid Treuling" userId="59319ebe-00e0-4bed-b2ef-326bd7e50483" providerId="ADAL" clId="{398C985C-4939-4904-9544-A192F358B56A}" dt="2020-05-20T16:04:46.399" v="237"/>
        <pc:sldMkLst>
          <pc:docMk/>
          <pc:sldMk cId="358391883" sldId="271"/>
        </pc:sldMkLst>
      </pc:sldChg>
      <pc:sldChg chg="add del">
        <pc:chgData name="Devid Treuling" userId="59319ebe-00e0-4bed-b2ef-326bd7e50483" providerId="ADAL" clId="{398C985C-4939-4904-9544-A192F358B56A}" dt="2020-05-20T16:13:01.343" v="674" actId="2696"/>
        <pc:sldMkLst>
          <pc:docMk/>
          <pc:sldMk cId="365926347" sldId="271"/>
        </pc:sldMkLst>
      </pc:sldChg>
      <pc:sldChg chg="add del">
        <pc:chgData name="Devid Treuling" userId="59319ebe-00e0-4bed-b2ef-326bd7e50483" providerId="ADAL" clId="{398C985C-4939-4904-9544-A192F358B56A}" dt="2020-05-20T16:04:46.399" v="237"/>
        <pc:sldMkLst>
          <pc:docMk/>
          <pc:sldMk cId="406453099" sldId="271"/>
        </pc:sldMkLst>
      </pc:sldChg>
      <pc:sldChg chg="add del">
        <pc:chgData name="Devid Treuling" userId="59319ebe-00e0-4bed-b2ef-326bd7e50483" providerId="ADAL" clId="{398C985C-4939-4904-9544-A192F358B56A}" dt="2020-05-20T16:04:46.399" v="237"/>
        <pc:sldMkLst>
          <pc:docMk/>
          <pc:sldMk cId="495839391" sldId="271"/>
        </pc:sldMkLst>
      </pc:sldChg>
      <pc:sldChg chg="add del">
        <pc:chgData name="Devid Treuling" userId="59319ebe-00e0-4bed-b2ef-326bd7e50483" providerId="ADAL" clId="{398C985C-4939-4904-9544-A192F358B56A}" dt="2020-05-20T16:04:46.399" v="237"/>
        <pc:sldMkLst>
          <pc:docMk/>
          <pc:sldMk cId="509551319" sldId="271"/>
        </pc:sldMkLst>
      </pc:sldChg>
      <pc:sldChg chg="add del">
        <pc:chgData name="Devid Treuling" userId="59319ebe-00e0-4bed-b2ef-326bd7e50483" providerId="ADAL" clId="{398C985C-4939-4904-9544-A192F358B56A}" dt="2020-05-20T16:04:46.399" v="237"/>
        <pc:sldMkLst>
          <pc:docMk/>
          <pc:sldMk cId="515033839" sldId="271"/>
        </pc:sldMkLst>
      </pc:sldChg>
      <pc:sldChg chg="add del">
        <pc:chgData name="Devid Treuling" userId="59319ebe-00e0-4bed-b2ef-326bd7e50483" providerId="ADAL" clId="{398C985C-4939-4904-9544-A192F358B56A}" dt="2020-05-20T16:05:25.318" v="284" actId="2696"/>
        <pc:sldMkLst>
          <pc:docMk/>
          <pc:sldMk cId="573840639" sldId="271"/>
        </pc:sldMkLst>
      </pc:sldChg>
      <pc:sldChg chg="add del">
        <pc:chgData name="Devid Treuling" userId="59319ebe-00e0-4bed-b2ef-326bd7e50483" providerId="ADAL" clId="{398C985C-4939-4904-9544-A192F358B56A}" dt="2020-05-20T16:13:01.209" v="654" actId="2696"/>
        <pc:sldMkLst>
          <pc:docMk/>
          <pc:sldMk cId="610087979" sldId="271"/>
        </pc:sldMkLst>
      </pc:sldChg>
      <pc:sldChg chg="add del">
        <pc:chgData name="Devid Treuling" userId="59319ebe-00e0-4bed-b2ef-326bd7e50483" providerId="ADAL" clId="{398C985C-4939-4904-9544-A192F358B56A}" dt="2020-05-20T16:13:01.261" v="662" actId="2696"/>
        <pc:sldMkLst>
          <pc:docMk/>
          <pc:sldMk cId="672690545" sldId="271"/>
        </pc:sldMkLst>
      </pc:sldChg>
      <pc:sldChg chg="add del">
        <pc:chgData name="Devid Treuling" userId="59319ebe-00e0-4bed-b2ef-326bd7e50483" providerId="ADAL" clId="{398C985C-4939-4904-9544-A192F358B56A}" dt="2020-05-20T16:04:46.399" v="237"/>
        <pc:sldMkLst>
          <pc:docMk/>
          <pc:sldMk cId="673514535" sldId="271"/>
        </pc:sldMkLst>
      </pc:sldChg>
      <pc:sldChg chg="add del">
        <pc:chgData name="Devid Treuling" userId="59319ebe-00e0-4bed-b2ef-326bd7e50483" providerId="ADAL" clId="{398C985C-4939-4904-9544-A192F358B56A}" dt="2020-05-20T16:05:25.463" v="320" actId="2696"/>
        <pc:sldMkLst>
          <pc:docMk/>
          <pc:sldMk cId="695332406" sldId="271"/>
        </pc:sldMkLst>
      </pc:sldChg>
      <pc:sldChg chg="add del">
        <pc:chgData name="Devid Treuling" userId="59319ebe-00e0-4bed-b2ef-326bd7e50483" providerId="ADAL" clId="{398C985C-4939-4904-9544-A192F358B56A}" dt="2020-05-20T16:08:52.707" v="470" actId="2696"/>
        <pc:sldMkLst>
          <pc:docMk/>
          <pc:sldMk cId="701138289" sldId="271"/>
        </pc:sldMkLst>
      </pc:sldChg>
      <pc:sldChg chg="add del">
        <pc:chgData name="Devid Treuling" userId="59319ebe-00e0-4bed-b2ef-326bd7e50483" providerId="ADAL" clId="{398C985C-4939-4904-9544-A192F358B56A}" dt="2020-05-20T16:13:01.051" v="630" actId="2696"/>
        <pc:sldMkLst>
          <pc:docMk/>
          <pc:sldMk cId="723869927" sldId="271"/>
        </pc:sldMkLst>
      </pc:sldChg>
      <pc:sldChg chg="add del">
        <pc:chgData name="Devid Treuling" userId="59319ebe-00e0-4bed-b2ef-326bd7e50483" providerId="ADAL" clId="{398C985C-4939-4904-9544-A192F358B56A}" dt="2020-05-20T16:08:52.830" v="498" actId="2696"/>
        <pc:sldMkLst>
          <pc:docMk/>
          <pc:sldMk cId="725029371" sldId="271"/>
        </pc:sldMkLst>
      </pc:sldChg>
      <pc:sldChg chg="add del">
        <pc:chgData name="Devid Treuling" userId="59319ebe-00e0-4bed-b2ef-326bd7e50483" providerId="ADAL" clId="{398C985C-4939-4904-9544-A192F358B56A}" dt="2020-05-20T16:04:46.399" v="237"/>
        <pc:sldMkLst>
          <pc:docMk/>
          <pc:sldMk cId="733299046" sldId="271"/>
        </pc:sldMkLst>
      </pc:sldChg>
      <pc:sldChg chg="add del">
        <pc:chgData name="Devid Treuling" userId="59319ebe-00e0-4bed-b2ef-326bd7e50483" providerId="ADAL" clId="{398C985C-4939-4904-9544-A192F358B56A}" dt="2020-05-20T16:08:52.820" v="496" actId="2696"/>
        <pc:sldMkLst>
          <pc:docMk/>
          <pc:sldMk cId="782646269" sldId="271"/>
        </pc:sldMkLst>
      </pc:sldChg>
      <pc:sldChg chg="add del">
        <pc:chgData name="Devid Treuling" userId="59319ebe-00e0-4bed-b2ef-326bd7e50483" providerId="ADAL" clId="{398C985C-4939-4904-9544-A192F358B56A}" dt="2020-05-20T16:08:52.628" v="452" actId="2696"/>
        <pc:sldMkLst>
          <pc:docMk/>
          <pc:sldMk cId="794950587" sldId="271"/>
        </pc:sldMkLst>
      </pc:sldChg>
      <pc:sldChg chg="add del">
        <pc:chgData name="Devid Treuling" userId="59319ebe-00e0-4bed-b2ef-326bd7e50483" providerId="ADAL" clId="{398C985C-4939-4904-9544-A192F358B56A}" dt="2020-05-20T16:13:01.114" v="638" actId="2696"/>
        <pc:sldMkLst>
          <pc:docMk/>
          <pc:sldMk cId="917501674" sldId="271"/>
        </pc:sldMkLst>
      </pc:sldChg>
      <pc:sldChg chg="add del">
        <pc:chgData name="Devid Treuling" userId="59319ebe-00e0-4bed-b2ef-326bd7e50483" providerId="ADAL" clId="{398C985C-4939-4904-9544-A192F358B56A}" dt="2020-05-20T16:04:46.399" v="237"/>
        <pc:sldMkLst>
          <pc:docMk/>
          <pc:sldMk cId="936670317" sldId="271"/>
        </pc:sldMkLst>
      </pc:sldChg>
      <pc:sldChg chg="add del">
        <pc:chgData name="Devid Treuling" userId="59319ebe-00e0-4bed-b2ef-326bd7e50483" providerId="ADAL" clId="{398C985C-4939-4904-9544-A192F358B56A}" dt="2020-05-20T16:13:01.443" v="688" actId="2696"/>
        <pc:sldMkLst>
          <pc:docMk/>
          <pc:sldMk cId="944043278" sldId="271"/>
        </pc:sldMkLst>
      </pc:sldChg>
      <pc:sldChg chg="add del">
        <pc:chgData name="Devid Treuling" userId="59319ebe-00e0-4bed-b2ef-326bd7e50483" providerId="ADAL" clId="{398C985C-4939-4904-9544-A192F358B56A}" dt="2020-05-20T16:05:25.385" v="300" actId="2696"/>
        <pc:sldMkLst>
          <pc:docMk/>
          <pc:sldMk cId="966258844" sldId="271"/>
        </pc:sldMkLst>
      </pc:sldChg>
      <pc:sldChg chg="add del">
        <pc:chgData name="Devid Treuling" userId="59319ebe-00e0-4bed-b2ef-326bd7e50483" providerId="ADAL" clId="{398C985C-4939-4904-9544-A192F358B56A}" dt="2020-05-20T16:05:25.418" v="308" actId="2696"/>
        <pc:sldMkLst>
          <pc:docMk/>
          <pc:sldMk cId="997697209" sldId="271"/>
        </pc:sldMkLst>
      </pc:sldChg>
      <pc:sldChg chg="add del">
        <pc:chgData name="Devid Treuling" userId="59319ebe-00e0-4bed-b2ef-326bd7e50483" providerId="ADAL" clId="{398C985C-4939-4904-9544-A192F358B56A}" dt="2020-05-20T16:05:25.259" v="266" actId="2696"/>
        <pc:sldMkLst>
          <pc:docMk/>
          <pc:sldMk cId="1015620131" sldId="271"/>
        </pc:sldMkLst>
      </pc:sldChg>
      <pc:sldChg chg="add del">
        <pc:chgData name="Devid Treuling" userId="59319ebe-00e0-4bed-b2ef-326bd7e50483" providerId="ADAL" clId="{398C985C-4939-4904-9544-A192F358B56A}" dt="2020-05-20T16:08:52.657" v="458" actId="2696"/>
        <pc:sldMkLst>
          <pc:docMk/>
          <pc:sldMk cId="1037600215" sldId="271"/>
        </pc:sldMkLst>
      </pc:sldChg>
      <pc:sldChg chg="add del">
        <pc:chgData name="Devid Treuling" userId="59319ebe-00e0-4bed-b2ef-326bd7e50483" providerId="ADAL" clId="{398C985C-4939-4904-9544-A192F358B56A}" dt="2020-05-20T16:05:25.354" v="292" actId="2696"/>
        <pc:sldMkLst>
          <pc:docMk/>
          <pc:sldMk cId="1038066339" sldId="271"/>
        </pc:sldMkLst>
      </pc:sldChg>
      <pc:sldChg chg="add del">
        <pc:chgData name="Devid Treuling" userId="59319ebe-00e0-4bed-b2ef-326bd7e50483" providerId="ADAL" clId="{398C985C-4939-4904-9544-A192F358B56A}" dt="2020-05-20T16:04:46.399" v="237"/>
        <pc:sldMkLst>
          <pc:docMk/>
          <pc:sldMk cId="1093448140" sldId="271"/>
        </pc:sldMkLst>
      </pc:sldChg>
      <pc:sldChg chg="add del">
        <pc:chgData name="Devid Treuling" userId="59319ebe-00e0-4bed-b2ef-326bd7e50483" providerId="ADAL" clId="{398C985C-4939-4904-9544-A192F358B56A}" dt="2020-05-20T16:05:25.339" v="288" actId="2696"/>
        <pc:sldMkLst>
          <pc:docMk/>
          <pc:sldMk cId="1111256248" sldId="271"/>
        </pc:sldMkLst>
      </pc:sldChg>
      <pc:sldChg chg="add del">
        <pc:chgData name="Devid Treuling" userId="59319ebe-00e0-4bed-b2ef-326bd7e50483" providerId="ADAL" clId="{398C985C-4939-4904-9544-A192F358B56A}" dt="2020-05-20T16:05:25.248" v="262" actId="2696"/>
        <pc:sldMkLst>
          <pc:docMk/>
          <pc:sldMk cId="1121204164" sldId="271"/>
        </pc:sldMkLst>
      </pc:sldChg>
      <pc:sldChg chg="add del">
        <pc:chgData name="Devid Treuling" userId="59319ebe-00e0-4bed-b2ef-326bd7e50483" providerId="ADAL" clId="{398C985C-4939-4904-9544-A192F358B56A}" dt="2020-05-20T16:04:46.399" v="237"/>
        <pc:sldMkLst>
          <pc:docMk/>
          <pc:sldMk cId="1137313193" sldId="271"/>
        </pc:sldMkLst>
      </pc:sldChg>
      <pc:sldChg chg="add del">
        <pc:chgData name="Devid Treuling" userId="59319ebe-00e0-4bed-b2ef-326bd7e50483" providerId="ADAL" clId="{398C985C-4939-4904-9544-A192F358B56A}" dt="2020-05-20T16:04:46.399" v="237"/>
        <pc:sldMkLst>
          <pc:docMk/>
          <pc:sldMk cId="1145460840" sldId="271"/>
        </pc:sldMkLst>
      </pc:sldChg>
      <pc:sldChg chg="add del">
        <pc:chgData name="Devid Treuling" userId="59319ebe-00e0-4bed-b2ef-326bd7e50483" providerId="ADAL" clId="{398C985C-4939-4904-9544-A192F358B56A}" dt="2020-05-20T16:05:25.217" v="252" actId="2696"/>
        <pc:sldMkLst>
          <pc:docMk/>
          <pc:sldMk cId="1145535732" sldId="271"/>
        </pc:sldMkLst>
      </pc:sldChg>
      <pc:sldChg chg="add del">
        <pc:chgData name="Devid Treuling" userId="59319ebe-00e0-4bed-b2ef-326bd7e50483" providerId="ADAL" clId="{398C985C-4939-4904-9544-A192F358B56A}" dt="2020-05-20T16:04:46.399" v="237"/>
        <pc:sldMkLst>
          <pc:docMk/>
          <pc:sldMk cId="1158535527" sldId="271"/>
        </pc:sldMkLst>
      </pc:sldChg>
      <pc:sldChg chg="add del">
        <pc:chgData name="Devid Treuling" userId="59319ebe-00e0-4bed-b2ef-326bd7e50483" providerId="ADAL" clId="{398C985C-4939-4904-9544-A192F358B56A}" dt="2020-05-20T16:05:25.241" v="260" actId="2696"/>
        <pc:sldMkLst>
          <pc:docMk/>
          <pc:sldMk cId="1160752468" sldId="271"/>
        </pc:sldMkLst>
      </pc:sldChg>
      <pc:sldChg chg="add del">
        <pc:chgData name="Devid Treuling" userId="59319ebe-00e0-4bed-b2ef-326bd7e50483" providerId="ADAL" clId="{398C985C-4939-4904-9544-A192F358B56A}" dt="2020-05-20T16:05:25.235" v="258" actId="2696"/>
        <pc:sldMkLst>
          <pc:docMk/>
          <pc:sldMk cId="1223799680" sldId="271"/>
        </pc:sldMkLst>
      </pc:sldChg>
      <pc:sldChg chg="add del">
        <pc:chgData name="Devid Treuling" userId="59319ebe-00e0-4bed-b2ef-326bd7e50483" providerId="ADAL" clId="{398C985C-4939-4904-9544-A192F358B56A}" dt="2020-05-20T16:13:01.174" v="648" actId="2696"/>
        <pc:sldMkLst>
          <pc:docMk/>
          <pc:sldMk cId="1335682673" sldId="271"/>
        </pc:sldMkLst>
      </pc:sldChg>
      <pc:sldChg chg="add del">
        <pc:chgData name="Devid Treuling" userId="59319ebe-00e0-4bed-b2ef-326bd7e50483" providerId="ADAL" clId="{398C985C-4939-4904-9544-A192F358B56A}" dt="2020-05-20T16:13:01.036" v="628" actId="2696"/>
        <pc:sldMkLst>
          <pc:docMk/>
          <pc:sldMk cId="1395025649" sldId="271"/>
        </pc:sldMkLst>
      </pc:sldChg>
      <pc:sldChg chg="add del">
        <pc:chgData name="Devid Treuling" userId="59319ebe-00e0-4bed-b2ef-326bd7e50483" providerId="ADAL" clId="{398C985C-4939-4904-9544-A192F358B56A}" dt="2020-05-20T16:05:25.298" v="278" actId="2696"/>
        <pc:sldMkLst>
          <pc:docMk/>
          <pc:sldMk cId="1395600820" sldId="271"/>
        </pc:sldMkLst>
      </pc:sldChg>
      <pc:sldChg chg="add del">
        <pc:chgData name="Devid Treuling" userId="59319ebe-00e0-4bed-b2ef-326bd7e50483" providerId="ADAL" clId="{398C985C-4939-4904-9544-A192F358B56A}" dt="2020-05-20T16:08:52.600" v="446" actId="2696"/>
        <pc:sldMkLst>
          <pc:docMk/>
          <pc:sldMk cId="1438968381" sldId="271"/>
        </pc:sldMkLst>
      </pc:sldChg>
      <pc:sldChg chg="add del">
        <pc:chgData name="Devid Treuling" userId="59319ebe-00e0-4bed-b2ef-326bd7e50483" providerId="ADAL" clId="{398C985C-4939-4904-9544-A192F358B56A}" dt="2020-05-20T16:04:46.399" v="237"/>
        <pc:sldMkLst>
          <pc:docMk/>
          <pc:sldMk cId="1457766667" sldId="271"/>
        </pc:sldMkLst>
      </pc:sldChg>
      <pc:sldChg chg="add del">
        <pc:chgData name="Devid Treuling" userId="59319ebe-00e0-4bed-b2ef-326bd7e50483" providerId="ADAL" clId="{398C985C-4939-4904-9544-A192F358B56A}" dt="2020-05-20T16:08:52.787" v="488" actId="2696"/>
        <pc:sldMkLst>
          <pc:docMk/>
          <pc:sldMk cId="1463299695" sldId="271"/>
        </pc:sldMkLst>
      </pc:sldChg>
      <pc:sldChg chg="add del">
        <pc:chgData name="Devid Treuling" userId="59319ebe-00e0-4bed-b2ef-326bd7e50483" providerId="ADAL" clId="{398C985C-4939-4904-9544-A192F358B56A}" dt="2020-05-20T16:04:46.399" v="237"/>
        <pc:sldMkLst>
          <pc:docMk/>
          <pc:sldMk cId="1495312200" sldId="271"/>
        </pc:sldMkLst>
      </pc:sldChg>
      <pc:sldChg chg="add del">
        <pc:chgData name="Devid Treuling" userId="59319ebe-00e0-4bed-b2ef-326bd7e50483" providerId="ADAL" clId="{398C985C-4939-4904-9544-A192F358B56A}" dt="2020-05-20T16:13:01.385" v="682" actId="2696"/>
        <pc:sldMkLst>
          <pc:docMk/>
          <pc:sldMk cId="1500364237" sldId="271"/>
        </pc:sldMkLst>
      </pc:sldChg>
      <pc:sldChg chg="add del">
        <pc:chgData name="Devid Treuling" userId="59319ebe-00e0-4bed-b2ef-326bd7e50483" providerId="ADAL" clId="{398C985C-4939-4904-9544-A192F358B56A}" dt="2020-05-20T16:04:46.399" v="237"/>
        <pc:sldMkLst>
          <pc:docMk/>
          <pc:sldMk cId="1503837535" sldId="271"/>
        </pc:sldMkLst>
      </pc:sldChg>
      <pc:sldChg chg="add del">
        <pc:chgData name="Devid Treuling" userId="59319ebe-00e0-4bed-b2ef-326bd7e50483" providerId="ADAL" clId="{398C985C-4939-4904-9544-A192F358B56A}" dt="2020-05-20T16:08:52.724" v="474" actId="2696"/>
        <pc:sldMkLst>
          <pc:docMk/>
          <pc:sldMk cId="1504865335" sldId="271"/>
        </pc:sldMkLst>
      </pc:sldChg>
      <pc:sldChg chg="add del">
        <pc:chgData name="Devid Treuling" userId="59319ebe-00e0-4bed-b2ef-326bd7e50483" providerId="ADAL" clId="{398C985C-4939-4904-9544-A192F358B56A}" dt="2020-05-20T16:13:01.126" v="640" actId="2696"/>
        <pc:sldMkLst>
          <pc:docMk/>
          <pc:sldMk cId="1563055702" sldId="271"/>
        </pc:sldMkLst>
      </pc:sldChg>
      <pc:sldChg chg="add del">
        <pc:chgData name="Devid Treuling" userId="59319ebe-00e0-4bed-b2ef-326bd7e50483" providerId="ADAL" clId="{398C985C-4939-4904-9544-A192F358B56A}" dt="2020-05-20T16:13:01.022" v="626" actId="2696"/>
        <pc:sldMkLst>
          <pc:docMk/>
          <pc:sldMk cId="1569949796" sldId="271"/>
        </pc:sldMkLst>
      </pc:sldChg>
      <pc:sldChg chg="add del">
        <pc:chgData name="Devid Treuling" userId="59319ebe-00e0-4bed-b2ef-326bd7e50483" providerId="ADAL" clId="{398C985C-4939-4904-9544-A192F358B56A}" dt="2020-05-20T16:13:01.278" v="664" actId="2696"/>
        <pc:sldMkLst>
          <pc:docMk/>
          <pc:sldMk cId="1570116790" sldId="271"/>
        </pc:sldMkLst>
      </pc:sldChg>
      <pc:sldChg chg="add del">
        <pc:chgData name="Devid Treuling" userId="59319ebe-00e0-4bed-b2ef-326bd7e50483" providerId="ADAL" clId="{398C985C-4939-4904-9544-A192F358B56A}" dt="2020-05-20T16:13:01.433" v="686" actId="2696"/>
        <pc:sldMkLst>
          <pc:docMk/>
          <pc:sldMk cId="1583550797" sldId="271"/>
        </pc:sldMkLst>
      </pc:sldChg>
      <pc:sldChg chg="add del">
        <pc:chgData name="Devid Treuling" userId="59319ebe-00e0-4bed-b2ef-326bd7e50483" providerId="ADAL" clId="{398C985C-4939-4904-9544-A192F358B56A}" dt="2020-05-20T16:04:46.399" v="237"/>
        <pc:sldMkLst>
          <pc:docMk/>
          <pc:sldMk cId="1603416834" sldId="271"/>
        </pc:sldMkLst>
      </pc:sldChg>
      <pc:sldChg chg="add del">
        <pc:chgData name="Devid Treuling" userId="59319ebe-00e0-4bed-b2ef-326bd7e50483" providerId="ADAL" clId="{398C985C-4939-4904-9544-A192F358B56A}" dt="2020-05-20T16:08:52.574" v="440" actId="2696"/>
        <pc:sldMkLst>
          <pc:docMk/>
          <pc:sldMk cId="1604861710" sldId="271"/>
        </pc:sldMkLst>
      </pc:sldChg>
      <pc:sldChg chg="add del">
        <pc:chgData name="Devid Treuling" userId="59319ebe-00e0-4bed-b2ef-326bd7e50483" providerId="ADAL" clId="{398C985C-4939-4904-9544-A192F358B56A}" dt="2020-05-20T16:05:25.192" v="244" actId="2696"/>
        <pc:sldMkLst>
          <pc:docMk/>
          <pc:sldMk cId="1615732525" sldId="271"/>
        </pc:sldMkLst>
      </pc:sldChg>
      <pc:sldChg chg="add del">
        <pc:chgData name="Devid Treuling" userId="59319ebe-00e0-4bed-b2ef-326bd7e50483" providerId="ADAL" clId="{398C985C-4939-4904-9544-A192F358B56A}" dt="2020-05-20T16:13:00.913" v="608" actId="2696"/>
        <pc:sldMkLst>
          <pc:docMk/>
          <pc:sldMk cId="1712145510" sldId="271"/>
        </pc:sldMkLst>
      </pc:sldChg>
      <pc:sldChg chg="add del">
        <pc:chgData name="Devid Treuling" userId="59319ebe-00e0-4bed-b2ef-326bd7e50483" providerId="ADAL" clId="{398C985C-4939-4904-9544-A192F358B56A}" dt="2020-05-20T16:05:25.311" v="282" actId="2696"/>
        <pc:sldMkLst>
          <pc:docMk/>
          <pc:sldMk cId="1726951149" sldId="271"/>
        </pc:sldMkLst>
      </pc:sldChg>
      <pc:sldChg chg="add del">
        <pc:chgData name="Devid Treuling" userId="59319ebe-00e0-4bed-b2ef-326bd7e50483" providerId="ADAL" clId="{398C985C-4939-4904-9544-A192F358B56A}" dt="2020-05-20T16:04:46.399" v="237"/>
        <pc:sldMkLst>
          <pc:docMk/>
          <pc:sldMk cId="1730290030" sldId="271"/>
        </pc:sldMkLst>
      </pc:sldChg>
      <pc:sldChg chg="add del">
        <pc:chgData name="Devid Treuling" userId="59319ebe-00e0-4bed-b2ef-326bd7e50483" providerId="ADAL" clId="{398C985C-4939-4904-9544-A192F358B56A}" dt="2020-05-20T16:08:52.649" v="456" actId="2696"/>
        <pc:sldMkLst>
          <pc:docMk/>
          <pc:sldMk cId="1738537227" sldId="271"/>
        </pc:sldMkLst>
      </pc:sldChg>
      <pc:sldChg chg="add del">
        <pc:chgData name="Devid Treuling" userId="59319ebe-00e0-4bed-b2ef-326bd7e50483" providerId="ADAL" clId="{398C985C-4939-4904-9544-A192F358B56A}" dt="2020-05-20T16:08:52.846" v="502" actId="2696"/>
        <pc:sldMkLst>
          <pc:docMk/>
          <pc:sldMk cId="1769629403" sldId="271"/>
        </pc:sldMkLst>
      </pc:sldChg>
      <pc:sldChg chg="add del">
        <pc:chgData name="Devid Treuling" userId="59319ebe-00e0-4bed-b2ef-326bd7e50483" providerId="ADAL" clId="{398C985C-4939-4904-9544-A192F358B56A}" dt="2020-05-20T16:05:25.292" v="276" actId="2696"/>
        <pc:sldMkLst>
          <pc:docMk/>
          <pc:sldMk cId="1778647977" sldId="271"/>
        </pc:sldMkLst>
      </pc:sldChg>
      <pc:sldChg chg="add del">
        <pc:chgData name="Devid Treuling" userId="59319ebe-00e0-4bed-b2ef-326bd7e50483" providerId="ADAL" clId="{398C985C-4939-4904-9544-A192F358B56A}" dt="2020-05-20T16:05:25.230" v="256" actId="2696"/>
        <pc:sldMkLst>
          <pc:docMk/>
          <pc:sldMk cId="1782384048" sldId="271"/>
        </pc:sldMkLst>
      </pc:sldChg>
      <pc:sldChg chg="add del">
        <pc:chgData name="Devid Treuling" userId="59319ebe-00e0-4bed-b2ef-326bd7e50483" providerId="ADAL" clId="{398C985C-4939-4904-9544-A192F358B56A}" dt="2020-05-20T16:08:52.535" v="430" actId="2696"/>
        <pc:sldMkLst>
          <pc:docMk/>
          <pc:sldMk cId="1790179800" sldId="271"/>
        </pc:sldMkLst>
      </pc:sldChg>
      <pc:sldChg chg="add del">
        <pc:chgData name="Devid Treuling" userId="59319ebe-00e0-4bed-b2ef-326bd7e50483" providerId="ADAL" clId="{398C985C-4939-4904-9544-A192F358B56A}" dt="2020-05-20T16:05:25.427" v="310" actId="2696"/>
        <pc:sldMkLst>
          <pc:docMk/>
          <pc:sldMk cId="1814732165" sldId="271"/>
        </pc:sldMkLst>
      </pc:sldChg>
      <pc:sldChg chg="add del">
        <pc:chgData name="Devid Treuling" userId="59319ebe-00e0-4bed-b2ef-326bd7e50483" providerId="ADAL" clId="{398C985C-4939-4904-9544-A192F358B56A}" dt="2020-05-20T16:04:46.399" v="237"/>
        <pc:sldMkLst>
          <pc:docMk/>
          <pc:sldMk cId="1864237439" sldId="271"/>
        </pc:sldMkLst>
      </pc:sldChg>
      <pc:sldChg chg="add del">
        <pc:chgData name="Devid Treuling" userId="59319ebe-00e0-4bed-b2ef-326bd7e50483" providerId="ADAL" clId="{398C985C-4939-4904-9544-A192F358B56A}" dt="2020-05-20T16:05:25.212" v="250" actId="2696"/>
        <pc:sldMkLst>
          <pc:docMk/>
          <pc:sldMk cId="1881680827" sldId="271"/>
        </pc:sldMkLst>
      </pc:sldChg>
      <pc:sldChg chg="add del">
        <pc:chgData name="Devid Treuling" userId="59319ebe-00e0-4bed-b2ef-326bd7e50483" providerId="ADAL" clId="{398C985C-4939-4904-9544-A192F358B56A}" dt="2020-05-20T16:04:46.399" v="237"/>
        <pc:sldMkLst>
          <pc:docMk/>
          <pc:sldMk cId="1932871552" sldId="271"/>
        </pc:sldMkLst>
      </pc:sldChg>
      <pc:sldChg chg="add del">
        <pc:chgData name="Devid Treuling" userId="59319ebe-00e0-4bed-b2ef-326bd7e50483" providerId="ADAL" clId="{398C985C-4939-4904-9544-A192F358B56A}" dt="2020-05-20T16:04:46.399" v="237"/>
        <pc:sldMkLst>
          <pc:docMk/>
          <pc:sldMk cId="2025420531" sldId="271"/>
        </pc:sldMkLst>
      </pc:sldChg>
      <pc:sldChg chg="add del">
        <pc:chgData name="Devid Treuling" userId="59319ebe-00e0-4bed-b2ef-326bd7e50483" providerId="ADAL" clId="{398C985C-4939-4904-9544-A192F358B56A}" dt="2020-05-20T16:04:46.399" v="237"/>
        <pc:sldMkLst>
          <pc:docMk/>
          <pc:sldMk cId="2030923944" sldId="271"/>
        </pc:sldMkLst>
      </pc:sldChg>
      <pc:sldChg chg="add del">
        <pc:chgData name="Devid Treuling" userId="59319ebe-00e0-4bed-b2ef-326bd7e50483" providerId="ADAL" clId="{398C985C-4939-4904-9544-A192F358B56A}" dt="2020-05-20T16:04:46.399" v="237"/>
        <pc:sldMkLst>
          <pc:docMk/>
          <pc:sldMk cId="2037232021" sldId="271"/>
        </pc:sldMkLst>
      </pc:sldChg>
      <pc:sldChg chg="add del">
        <pc:chgData name="Devid Treuling" userId="59319ebe-00e0-4bed-b2ef-326bd7e50483" providerId="ADAL" clId="{398C985C-4939-4904-9544-A192F358B56A}" dt="2020-05-20T16:05:25.198" v="246" actId="2696"/>
        <pc:sldMkLst>
          <pc:docMk/>
          <pc:sldMk cId="2070561891" sldId="271"/>
        </pc:sldMkLst>
      </pc:sldChg>
      <pc:sldChg chg="add del">
        <pc:chgData name="Devid Treuling" userId="59319ebe-00e0-4bed-b2ef-326bd7e50483" providerId="ADAL" clId="{398C985C-4939-4904-9544-A192F358B56A}" dt="2020-05-20T16:05:25.434" v="312" actId="2696"/>
        <pc:sldMkLst>
          <pc:docMk/>
          <pc:sldMk cId="2079631904" sldId="271"/>
        </pc:sldMkLst>
      </pc:sldChg>
      <pc:sldChg chg="add del">
        <pc:chgData name="Devid Treuling" userId="59319ebe-00e0-4bed-b2ef-326bd7e50483" providerId="ADAL" clId="{398C985C-4939-4904-9544-A192F358B56A}" dt="2020-05-20T16:08:52.771" v="484" actId="2696"/>
        <pc:sldMkLst>
          <pc:docMk/>
          <pc:sldMk cId="2082663959" sldId="271"/>
        </pc:sldMkLst>
      </pc:sldChg>
      <pc:sldChg chg="add del">
        <pc:chgData name="Devid Treuling" userId="59319ebe-00e0-4bed-b2ef-326bd7e50483" providerId="ADAL" clId="{398C985C-4939-4904-9544-A192F358B56A}" dt="2020-05-20T16:13:01.139" v="642" actId="2696"/>
        <pc:sldMkLst>
          <pc:docMk/>
          <pc:sldMk cId="2112051054" sldId="271"/>
        </pc:sldMkLst>
      </pc:sldChg>
      <pc:sldChg chg="add del">
        <pc:chgData name="Devid Treuling" userId="59319ebe-00e0-4bed-b2ef-326bd7e50483" providerId="ADAL" clId="{398C985C-4939-4904-9544-A192F358B56A}" dt="2020-05-20T16:08:52.583" v="442" actId="2696"/>
        <pc:sldMkLst>
          <pc:docMk/>
          <pc:sldMk cId="2140907250" sldId="271"/>
        </pc:sldMkLst>
      </pc:sldChg>
      <pc:sldChg chg="add del">
        <pc:chgData name="Devid Treuling" userId="59319ebe-00e0-4bed-b2ef-326bd7e50483" providerId="ADAL" clId="{398C985C-4939-4904-9544-A192F358B56A}" dt="2020-05-20T16:05:25.223" v="254" actId="2696"/>
        <pc:sldMkLst>
          <pc:docMk/>
          <pc:sldMk cId="2145436157" sldId="271"/>
        </pc:sldMkLst>
      </pc:sldChg>
      <pc:sldChg chg="add del">
        <pc:chgData name="Devid Treuling" userId="59319ebe-00e0-4bed-b2ef-326bd7e50483" providerId="ADAL" clId="{398C985C-4939-4904-9544-A192F358B56A}" dt="2020-05-20T16:05:25.186" v="242" actId="2696"/>
        <pc:sldMkLst>
          <pc:docMk/>
          <pc:sldMk cId="2210839292" sldId="271"/>
        </pc:sldMkLst>
      </pc:sldChg>
      <pc:sldChg chg="add del">
        <pc:chgData name="Devid Treuling" userId="59319ebe-00e0-4bed-b2ef-326bd7e50483" providerId="ADAL" clId="{398C985C-4939-4904-9544-A192F358B56A}" dt="2020-05-20T16:08:52.804" v="492" actId="2696"/>
        <pc:sldMkLst>
          <pc:docMk/>
          <pc:sldMk cId="2272272014" sldId="271"/>
        </pc:sldMkLst>
      </pc:sldChg>
      <pc:sldChg chg="add del">
        <pc:chgData name="Devid Treuling" userId="59319ebe-00e0-4bed-b2ef-326bd7e50483" providerId="ADAL" clId="{398C985C-4939-4904-9544-A192F358B56A}" dt="2020-05-20T16:13:00.927" v="610" actId="2696"/>
        <pc:sldMkLst>
          <pc:docMk/>
          <pc:sldMk cId="2285980336" sldId="271"/>
        </pc:sldMkLst>
      </pc:sldChg>
      <pc:sldChg chg="add del">
        <pc:chgData name="Devid Treuling" userId="59319ebe-00e0-4bed-b2ef-326bd7e50483" providerId="ADAL" clId="{398C985C-4939-4904-9544-A192F358B56A}" dt="2020-05-20T16:08:52.878" v="506" actId="2696"/>
        <pc:sldMkLst>
          <pc:docMk/>
          <pc:sldMk cId="2299279724" sldId="271"/>
        </pc:sldMkLst>
      </pc:sldChg>
      <pc:sldChg chg="add del">
        <pc:chgData name="Devid Treuling" userId="59319ebe-00e0-4bed-b2ef-326bd7e50483" providerId="ADAL" clId="{398C985C-4939-4904-9544-A192F358B56A}" dt="2020-05-20T16:08:52.869" v="504" actId="2696"/>
        <pc:sldMkLst>
          <pc:docMk/>
          <pc:sldMk cId="2322337479" sldId="271"/>
        </pc:sldMkLst>
      </pc:sldChg>
      <pc:sldChg chg="add del">
        <pc:chgData name="Devid Treuling" userId="59319ebe-00e0-4bed-b2ef-326bd7e50483" providerId="ADAL" clId="{398C985C-4939-4904-9544-A192F358B56A}" dt="2020-05-20T16:13:01.420" v="684" actId="2696"/>
        <pc:sldMkLst>
          <pc:docMk/>
          <pc:sldMk cId="2324328577" sldId="271"/>
        </pc:sldMkLst>
      </pc:sldChg>
      <pc:sldChg chg="add del">
        <pc:chgData name="Devid Treuling" userId="59319ebe-00e0-4bed-b2ef-326bd7e50483" providerId="ADAL" clId="{398C985C-4939-4904-9544-A192F358B56A}" dt="2020-05-20T16:05:25.457" v="318" actId="2696"/>
        <pc:sldMkLst>
          <pc:docMk/>
          <pc:sldMk cId="2410427694" sldId="271"/>
        </pc:sldMkLst>
      </pc:sldChg>
      <pc:sldChg chg="add del">
        <pc:chgData name="Devid Treuling" userId="59319ebe-00e0-4bed-b2ef-326bd7e50483" providerId="ADAL" clId="{398C985C-4939-4904-9544-A192F358B56A}" dt="2020-05-20T16:04:46.399" v="237"/>
        <pc:sldMkLst>
          <pc:docMk/>
          <pc:sldMk cId="2413444091" sldId="271"/>
        </pc:sldMkLst>
      </pc:sldChg>
      <pc:sldChg chg="add del">
        <pc:chgData name="Devid Treuling" userId="59319ebe-00e0-4bed-b2ef-326bd7e50483" providerId="ADAL" clId="{398C985C-4939-4904-9544-A192F358B56A}" dt="2020-05-20T16:13:00.938" v="612" actId="2696"/>
        <pc:sldMkLst>
          <pc:docMk/>
          <pc:sldMk cId="2423555278" sldId="271"/>
        </pc:sldMkLst>
      </pc:sldChg>
      <pc:sldChg chg="add del">
        <pc:chgData name="Devid Treuling" userId="59319ebe-00e0-4bed-b2ef-326bd7e50483" providerId="ADAL" clId="{398C985C-4939-4904-9544-A192F358B56A}" dt="2020-05-20T16:08:52.566" v="438" actId="2696"/>
        <pc:sldMkLst>
          <pc:docMk/>
          <pc:sldMk cId="2461512542" sldId="271"/>
        </pc:sldMkLst>
      </pc:sldChg>
      <pc:sldChg chg="add del">
        <pc:chgData name="Devid Treuling" userId="59319ebe-00e0-4bed-b2ef-326bd7e50483" providerId="ADAL" clId="{398C985C-4939-4904-9544-A192F358B56A}" dt="2020-05-20T16:08:52.733" v="476" actId="2696"/>
        <pc:sldMkLst>
          <pc:docMk/>
          <pc:sldMk cId="2473012113" sldId="271"/>
        </pc:sldMkLst>
      </pc:sldChg>
      <pc:sldChg chg="add del">
        <pc:chgData name="Devid Treuling" userId="59319ebe-00e0-4bed-b2ef-326bd7e50483" providerId="ADAL" clId="{398C985C-4939-4904-9544-A192F358B56A}" dt="2020-05-20T16:13:01.085" v="634" actId="2696"/>
        <pc:sldMkLst>
          <pc:docMk/>
          <pc:sldMk cId="2498035731" sldId="271"/>
        </pc:sldMkLst>
      </pc:sldChg>
      <pc:sldChg chg="add del">
        <pc:chgData name="Devid Treuling" userId="59319ebe-00e0-4bed-b2ef-326bd7e50483" providerId="ADAL" clId="{398C985C-4939-4904-9544-A192F358B56A}" dt="2020-05-20T16:05:25.489" v="324" actId="2696"/>
        <pc:sldMkLst>
          <pc:docMk/>
          <pc:sldMk cId="2537869755" sldId="271"/>
        </pc:sldMkLst>
      </pc:sldChg>
      <pc:sldChg chg="add del">
        <pc:chgData name="Devid Treuling" userId="59319ebe-00e0-4bed-b2ef-326bd7e50483" providerId="ADAL" clId="{398C985C-4939-4904-9544-A192F358B56A}" dt="2020-05-20T16:08:52.813" v="494" actId="2696"/>
        <pc:sldMkLst>
          <pc:docMk/>
          <pc:sldMk cId="2568060645" sldId="271"/>
        </pc:sldMkLst>
      </pc:sldChg>
      <pc:sldChg chg="add del">
        <pc:chgData name="Devid Treuling" userId="59319ebe-00e0-4bed-b2ef-326bd7e50483" providerId="ADAL" clId="{398C985C-4939-4904-9544-A192F358B56A}" dt="2020-05-20T16:08:52.508" v="424" actId="2696"/>
        <pc:sldMkLst>
          <pc:docMk/>
          <pc:sldMk cId="2593929225" sldId="271"/>
        </pc:sldMkLst>
      </pc:sldChg>
      <pc:sldChg chg="add del">
        <pc:chgData name="Devid Treuling" userId="59319ebe-00e0-4bed-b2ef-326bd7e50483" providerId="ADAL" clId="{398C985C-4939-4904-9544-A192F358B56A}" dt="2020-05-20T16:05:25.403" v="304" actId="2696"/>
        <pc:sldMkLst>
          <pc:docMk/>
          <pc:sldMk cId="2596949577" sldId="271"/>
        </pc:sldMkLst>
      </pc:sldChg>
      <pc:sldChg chg="add del">
        <pc:chgData name="Devid Treuling" userId="59319ebe-00e0-4bed-b2ef-326bd7e50483" providerId="ADAL" clId="{398C985C-4939-4904-9544-A192F358B56A}" dt="2020-05-20T16:04:46.399" v="237"/>
        <pc:sldMkLst>
          <pc:docMk/>
          <pc:sldMk cId="2635994018" sldId="271"/>
        </pc:sldMkLst>
      </pc:sldChg>
      <pc:sldChg chg="add del">
        <pc:chgData name="Devid Treuling" userId="59319ebe-00e0-4bed-b2ef-326bd7e50483" providerId="ADAL" clId="{398C985C-4939-4904-9544-A192F358B56A}" dt="2020-05-20T16:05:25.204" v="248" actId="2696"/>
        <pc:sldMkLst>
          <pc:docMk/>
          <pc:sldMk cId="2804341784" sldId="271"/>
        </pc:sldMkLst>
      </pc:sldChg>
      <pc:sldChg chg="add del">
        <pc:chgData name="Devid Treuling" userId="59319ebe-00e0-4bed-b2ef-326bd7e50483" providerId="ADAL" clId="{398C985C-4939-4904-9544-A192F358B56A}" dt="2020-05-20T16:13:01.233" v="658" actId="2696"/>
        <pc:sldMkLst>
          <pc:docMk/>
          <pc:sldMk cId="2806329267" sldId="271"/>
        </pc:sldMkLst>
      </pc:sldChg>
      <pc:sldChg chg="add del">
        <pc:chgData name="Devid Treuling" userId="59319ebe-00e0-4bed-b2ef-326bd7e50483" providerId="ADAL" clId="{398C985C-4939-4904-9544-A192F358B56A}" dt="2020-05-20T16:04:46.399" v="237"/>
        <pc:sldMkLst>
          <pc:docMk/>
          <pc:sldMk cId="2896514504" sldId="271"/>
        </pc:sldMkLst>
      </pc:sldChg>
      <pc:sldChg chg="add del">
        <pc:chgData name="Devid Treuling" userId="59319ebe-00e0-4bed-b2ef-326bd7e50483" providerId="ADAL" clId="{398C985C-4939-4904-9544-A192F358B56A}" dt="2020-05-20T16:13:01.289" v="666" actId="2696"/>
        <pc:sldMkLst>
          <pc:docMk/>
          <pc:sldMk cId="2917434561" sldId="271"/>
        </pc:sldMkLst>
      </pc:sldChg>
      <pc:sldChg chg="add del">
        <pc:chgData name="Devid Treuling" userId="59319ebe-00e0-4bed-b2ef-326bd7e50483" providerId="ADAL" clId="{398C985C-4939-4904-9544-A192F358B56A}" dt="2020-05-20T16:08:52.666" v="460" actId="2696"/>
        <pc:sldMkLst>
          <pc:docMk/>
          <pc:sldMk cId="2935736801" sldId="271"/>
        </pc:sldMkLst>
      </pc:sldChg>
      <pc:sldChg chg="add del">
        <pc:chgData name="Devid Treuling" userId="59319ebe-00e0-4bed-b2ef-326bd7e50483" providerId="ADAL" clId="{398C985C-4939-4904-9544-A192F358B56A}" dt="2020-05-20T16:13:01.185" v="650" actId="2696"/>
        <pc:sldMkLst>
          <pc:docMk/>
          <pc:sldMk cId="2943515219" sldId="271"/>
        </pc:sldMkLst>
      </pc:sldChg>
      <pc:sldChg chg="add del">
        <pc:chgData name="Devid Treuling" userId="59319ebe-00e0-4bed-b2ef-326bd7e50483" providerId="ADAL" clId="{398C985C-4939-4904-9544-A192F358B56A}" dt="2020-05-20T16:05:25.306" v="280" actId="2696"/>
        <pc:sldMkLst>
          <pc:docMk/>
          <pc:sldMk cId="2961772710" sldId="271"/>
        </pc:sldMkLst>
      </pc:sldChg>
      <pc:sldChg chg="add del">
        <pc:chgData name="Devid Treuling" userId="59319ebe-00e0-4bed-b2ef-326bd7e50483" providerId="ADAL" clId="{398C985C-4939-4904-9544-A192F358B56A}" dt="2020-05-20T16:08:52.524" v="428" actId="2696"/>
        <pc:sldMkLst>
          <pc:docMk/>
          <pc:sldMk cId="2978626763" sldId="271"/>
        </pc:sldMkLst>
      </pc:sldChg>
      <pc:sldChg chg="add del">
        <pc:chgData name="Devid Treuling" userId="59319ebe-00e0-4bed-b2ef-326bd7e50483" providerId="ADAL" clId="{398C985C-4939-4904-9544-A192F358B56A}" dt="2020-05-20T16:13:01.150" v="644" actId="2696"/>
        <pc:sldMkLst>
          <pc:docMk/>
          <pc:sldMk cId="3005520389" sldId="271"/>
        </pc:sldMkLst>
      </pc:sldChg>
      <pc:sldChg chg="add del">
        <pc:chgData name="Devid Treuling" userId="59319ebe-00e0-4bed-b2ef-326bd7e50483" providerId="ADAL" clId="{398C985C-4939-4904-9544-A192F358B56A}" dt="2020-05-20T16:04:46.399" v="237"/>
        <pc:sldMkLst>
          <pc:docMk/>
          <pc:sldMk cId="3009530665" sldId="271"/>
        </pc:sldMkLst>
      </pc:sldChg>
      <pc:sldChg chg="add del">
        <pc:chgData name="Devid Treuling" userId="59319ebe-00e0-4bed-b2ef-326bd7e50483" providerId="ADAL" clId="{398C985C-4939-4904-9544-A192F358B56A}" dt="2020-05-20T16:13:01.066" v="632" actId="2696"/>
        <pc:sldMkLst>
          <pc:docMk/>
          <pc:sldMk cId="3010590887" sldId="271"/>
        </pc:sldMkLst>
      </pc:sldChg>
      <pc:sldChg chg="add del">
        <pc:chgData name="Devid Treuling" userId="59319ebe-00e0-4bed-b2ef-326bd7e50483" providerId="ADAL" clId="{398C985C-4939-4904-9544-A192F358B56A}" dt="2020-05-20T16:13:00.975" v="618" actId="2696"/>
        <pc:sldMkLst>
          <pc:docMk/>
          <pc:sldMk cId="3023999743" sldId="271"/>
        </pc:sldMkLst>
      </pc:sldChg>
      <pc:sldChg chg="add del">
        <pc:chgData name="Devid Treuling" userId="59319ebe-00e0-4bed-b2ef-326bd7e50483" providerId="ADAL" clId="{398C985C-4939-4904-9544-A192F358B56A}" dt="2020-05-20T16:04:46.399" v="237"/>
        <pc:sldMkLst>
          <pc:docMk/>
          <pc:sldMk cId="3066480832" sldId="271"/>
        </pc:sldMkLst>
      </pc:sldChg>
      <pc:sldChg chg="add del">
        <pc:chgData name="Devid Treuling" userId="59319ebe-00e0-4bed-b2ef-326bd7e50483" providerId="ADAL" clId="{398C985C-4939-4904-9544-A192F358B56A}" dt="2020-05-20T16:05:25.378" v="298" actId="2696"/>
        <pc:sldMkLst>
          <pc:docMk/>
          <pc:sldMk cId="3068718577" sldId="271"/>
        </pc:sldMkLst>
      </pc:sldChg>
      <pc:sldChg chg="add del">
        <pc:chgData name="Devid Treuling" userId="59319ebe-00e0-4bed-b2ef-326bd7e50483" providerId="ADAL" clId="{398C985C-4939-4904-9544-A192F358B56A}" dt="2020-05-20T16:05:25.368" v="296" actId="2696"/>
        <pc:sldMkLst>
          <pc:docMk/>
          <pc:sldMk cId="3115304970" sldId="271"/>
        </pc:sldMkLst>
      </pc:sldChg>
      <pc:sldChg chg="add del">
        <pc:chgData name="Devid Treuling" userId="59319ebe-00e0-4bed-b2ef-326bd7e50483" providerId="ADAL" clId="{398C985C-4939-4904-9544-A192F358B56A}" dt="2020-05-20T16:04:46.399" v="237"/>
        <pc:sldMkLst>
          <pc:docMk/>
          <pc:sldMk cId="3134568875" sldId="271"/>
        </pc:sldMkLst>
      </pc:sldChg>
      <pc:sldChg chg="add del">
        <pc:chgData name="Devid Treuling" userId="59319ebe-00e0-4bed-b2ef-326bd7e50483" providerId="ADAL" clId="{398C985C-4939-4904-9544-A192F358B56A}" dt="2020-05-20T16:08:52.885" v="508" actId="2696"/>
        <pc:sldMkLst>
          <pc:docMk/>
          <pc:sldMk cId="3151999884" sldId="271"/>
        </pc:sldMkLst>
      </pc:sldChg>
      <pc:sldChg chg="add del">
        <pc:chgData name="Devid Treuling" userId="59319ebe-00e0-4bed-b2ef-326bd7e50483" providerId="ADAL" clId="{398C985C-4939-4904-9544-A192F358B56A}" dt="2020-05-20T16:13:00.999" v="622" actId="2696"/>
        <pc:sldMkLst>
          <pc:docMk/>
          <pc:sldMk cId="3152498557" sldId="271"/>
        </pc:sldMkLst>
      </pc:sldChg>
      <pc:sldChg chg="add del">
        <pc:chgData name="Devid Treuling" userId="59319ebe-00e0-4bed-b2ef-326bd7e50483" providerId="ADAL" clId="{398C985C-4939-4904-9544-A192F358B56A}" dt="2020-05-20T16:08:52.674" v="462" actId="2696"/>
        <pc:sldMkLst>
          <pc:docMk/>
          <pc:sldMk cId="3155697806" sldId="271"/>
        </pc:sldMkLst>
      </pc:sldChg>
      <pc:sldChg chg="add del">
        <pc:chgData name="Devid Treuling" userId="59319ebe-00e0-4bed-b2ef-326bd7e50483" providerId="ADAL" clId="{398C985C-4939-4904-9544-A192F358B56A}" dt="2020-05-20T16:05:25.330" v="286" actId="2696"/>
        <pc:sldMkLst>
          <pc:docMk/>
          <pc:sldMk cId="3225417692" sldId="271"/>
        </pc:sldMkLst>
      </pc:sldChg>
      <pc:sldChg chg="add del">
        <pc:chgData name="Devid Treuling" userId="59319ebe-00e0-4bed-b2ef-326bd7e50483" providerId="ADAL" clId="{398C985C-4939-4904-9544-A192F358B56A}" dt="2020-05-20T16:08:52.499" v="422" actId="2696"/>
        <pc:sldMkLst>
          <pc:docMk/>
          <pc:sldMk cId="3234237962" sldId="271"/>
        </pc:sldMkLst>
      </pc:sldChg>
      <pc:sldChg chg="add del">
        <pc:chgData name="Devid Treuling" userId="59319ebe-00e0-4bed-b2ef-326bd7e50483" providerId="ADAL" clId="{398C985C-4939-4904-9544-A192F358B56A}" dt="2020-05-20T16:05:25.470" v="322" actId="2696"/>
        <pc:sldMkLst>
          <pc:docMk/>
          <pc:sldMk cId="3248091811" sldId="271"/>
        </pc:sldMkLst>
      </pc:sldChg>
      <pc:sldChg chg="add del">
        <pc:chgData name="Devid Treuling" userId="59319ebe-00e0-4bed-b2ef-326bd7e50483" providerId="ADAL" clId="{398C985C-4939-4904-9544-A192F358B56A}" dt="2020-05-20T16:04:46.399" v="237"/>
        <pc:sldMkLst>
          <pc:docMk/>
          <pc:sldMk cId="3255801789" sldId="271"/>
        </pc:sldMkLst>
      </pc:sldChg>
      <pc:sldChg chg="add del">
        <pc:chgData name="Devid Treuling" userId="59319ebe-00e0-4bed-b2ef-326bd7e50483" providerId="ADAL" clId="{398C985C-4939-4904-9544-A192F358B56A}" dt="2020-05-20T16:08:52.550" v="434" actId="2696"/>
        <pc:sldMkLst>
          <pc:docMk/>
          <pc:sldMk cId="3302367121" sldId="271"/>
        </pc:sldMkLst>
      </pc:sldChg>
      <pc:sldChg chg="add del">
        <pc:chgData name="Devid Treuling" userId="59319ebe-00e0-4bed-b2ef-326bd7e50483" providerId="ADAL" clId="{398C985C-4939-4904-9544-A192F358B56A}" dt="2020-05-20T16:04:46.399" v="237"/>
        <pc:sldMkLst>
          <pc:docMk/>
          <pc:sldMk cId="3308381796" sldId="271"/>
        </pc:sldMkLst>
      </pc:sldChg>
      <pc:sldChg chg="add del">
        <pc:chgData name="Devid Treuling" userId="59319ebe-00e0-4bed-b2ef-326bd7e50483" providerId="ADAL" clId="{398C985C-4939-4904-9544-A192F358B56A}" dt="2020-05-20T16:05:25.254" v="264" actId="2696"/>
        <pc:sldMkLst>
          <pc:docMk/>
          <pc:sldMk cId="3322032201" sldId="271"/>
        </pc:sldMkLst>
      </pc:sldChg>
      <pc:sldChg chg="add del">
        <pc:chgData name="Devid Treuling" userId="59319ebe-00e0-4bed-b2ef-326bd7e50483" providerId="ADAL" clId="{398C985C-4939-4904-9544-A192F358B56A}" dt="2020-05-20T16:04:46.399" v="237"/>
        <pc:sldMkLst>
          <pc:docMk/>
          <pc:sldMk cId="3339277636" sldId="271"/>
        </pc:sldMkLst>
      </pc:sldChg>
      <pc:sldChg chg="add del">
        <pc:chgData name="Devid Treuling" userId="59319ebe-00e0-4bed-b2ef-326bd7e50483" providerId="ADAL" clId="{398C985C-4939-4904-9544-A192F358B56A}" dt="2020-05-20T16:08:52.779" v="486" actId="2696"/>
        <pc:sldMkLst>
          <pc:docMk/>
          <pc:sldMk cId="3358489515" sldId="271"/>
        </pc:sldMkLst>
      </pc:sldChg>
      <pc:sldChg chg="add del">
        <pc:chgData name="Devid Treuling" userId="59319ebe-00e0-4bed-b2ef-326bd7e50483" providerId="ADAL" clId="{398C985C-4939-4904-9544-A192F358B56A}" dt="2020-05-20T16:08:52.743" v="478" actId="2696"/>
        <pc:sldMkLst>
          <pc:docMk/>
          <pc:sldMk cId="3471499296" sldId="271"/>
        </pc:sldMkLst>
      </pc:sldChg>
      <pc:sldChg chg="add del">
        <pc:chgData name="Devid Treuling" userId="59319ebe-00e0-4bed-b2ef-326bd7e50483" providerId="ADAL" clId="{398C985C-4939-4904-9544-A192F358B56A}" dt="2020-05-20T16:08:52.760" v="482" actId="2696"/>
        <pc:sldMkLst>
          <pc:docMk/>
          <pc:sldMk cId="3471889803" sldId="271"/>
        </pc:sldMkLst>
      </pc:sldChg>
      <pc:sldChg chg="add del">
        <pc:chgData name="Devid Treuling" userId="59319ebe-00e0-4bed-b2ef-326bd7e50483" providerId="ADAL" clId="{398C985C-4939-4904-9544-A192F358B56A}" dt="2020-05-20T16:13:01.316" v="670" actId="2696"/>
        <pc:sldMkLst>
          <pc:docMk/>
          <pc:sldMk cId="3478645113" sldId="271"/>
        </pc:sldMkLst>
      </pc:sldChg>
      <pc:sldChg chg="add del">
        <pc:chgData name="Devid Treuling" userId="59319ebe-00e0-4bed-b2ef-326bd7e50483" providerId="ADAL" clId="{398C985C-4939-4904-9544-A192F358B56A}" dt="2020-05-20T16:04:46.399" v="237"/>
        <pc:sldMkLst>
          <pc:docMk/>
          <pc:sldMk cId="3504034655" sldId="271"/>
        </pc:sldMkLst>
      </pc:sldChg>
      <pc:sldChg chg="add del">
        <pc:chgData name="Devid Treuling" userId="59319ebe-00e0-4bed-b2ef-326bd7e50483" providerId="ADAL" clId="{398C985C-4939-4904-9544-A192F358B56A}" dt="2020-05-20T16:13:01.301" v="668" actId="2696"/>
        <pc:sldMkLst>
          <pc:docMk/>
          <pc:sldMk cId="3515240560" sldId="271"/>
        </pc:sldMkLst>
      </pc:sldChg>
      <pc:sldChg chg="add del">
        <pc:chgData name="Devid Treuling" userId="59319ebe-00e0-4bed-b2ef-326bd7e50483" providerId="ADAL" clId="{398C985C-4939-4904-9544-A192F358B56A}" dt="2020-05-20T16:08:52.752" v="480" actId="2696"/>
        <pc:sldMkLst>
          <pc:docMk/>
          <pc:sldMk cId="3519742245" sldId="271"/>
        </pc:sldMkLst>
      </pc:sldChg>
      <pc:sldChg chg="add del">
        <pc:chgData name="Devid Treuling" userId="59319ebe-00e0-4bed-b2ef-326bd7e50483" providerId="ADAL" clId="{398C985C-4939-4904-9544-A192F358B56A}" dt="2020-05-20T16:05:25.273" v="270" actId="2696"/>
        <pc:sldMkLst>
          <pc:docMk/>
          <pc:sldMk cId="3526786170" sldId="271"/>
        </pc:sldMkLst>
      </pc:sldChg>
      <pc:sldChg chg="add del">
        <pc:chgData name="Devid Treuling" userId="59319ebe-00e0-4bed-b2ef-326bd7e50483" providerId="ADAL" clId="{398C985C-4939-4904-9544-A192F358B56A}" dt="2020-05-20T16:05:25.287" v="274" actId="2696"/>
        <pc:sldMkLst>
          <pc:docMk/>
          <pc:sldMk cId="3545029672" sldId="271"/>
        </pc:sldMkLst>
      </pc:sldChg>
      <pc:sldChg chg="add del">
        <pc:chgData name="Devid Treuling" userId="59319ebe-00e0-4bed-b2ef-326bd7e50483" providerId="ADAL" clId="{398C985C-4939-4904-9544-A192F358B56A}" dt="2020-05-20T16:04:46.399" v="237"/>
        <pc:sldMkLst>
          <pc:docMk/>
          <pc:sldMk cId="3558736246" sldId="271"/>
        </pc:sldMkLst>
      </pc:sldChg>
      <pc:sldChg chg="add del">
        <pc:chgData name="Devid Treuling" userId="59319ebe-00e0-4bed-b2ef-326bd7e50483" providerId="ADAL" clId="{398C985C-4939-4904-9544-A192F358B56A}" dt="2020-05-20T16:04:46.399" v="237"/>
        <pc:sldMkLst>
          <pc:docMk/>
          <pc:sldMk cId="3577409082" sldId="271"/>
        </pc:sldMkLst>
      </pc:sldChg>
      <pc:sldChg chg="add del">
        <pc:chgData name="Devid Treuling" userId="59319ebe-00e0-4bed-b2ef-326bd7e50483" providerId="ADAL" clId="{398C985C-4939-4904-9544-A192F358B56A}" dt="2020-05-20T16:05:25.449" v="316" actId="2696"/>
        <pc:sldMkLst>
          <pc:docMk/>
          <pc:sldMk cId="3617862044" sldId="271"/>
        </pc:sldMkLst>
      </pc:sldChg>
      <pc:sldChg chg="add del">
        <pc:chgData name="Devid Treuling" userId="59319ebe-00e0-4bed-b2ef-326bd7e50483" providerId="ADAL" clId="{398C985C-4939-4904-9544-A192F358B56A}" dt="2020-05-20T16:05:25.505" v="328" actId="2696"/>
        <pc:sldMkLst>
          <pc:docMk/>
          <pc:sldMk cId="3632801486" sldId="271"/>
        </pc:sldMkLst>
      </pc:sldChg>
      <pc:sldChg chg="add del">
        <pc:chgData name="Devid Treuling" userId="59319ebe-00e0-4bed-b2ef-326bd7e50483" providerId="ADAL" clId="{398C985C-4939-4904-9544-A192F358B56A}" dt="2020-05-20T16:05:25.361" v="294" actId="2696"/>
        <pc:sldMkLst>
          <pc:docMk/>
          <pc:sldMk cId="3633229947" sldId="271"/>
        </pc:sldMkLst>
      </pc:sldChg>
      <pc:sldChg chg="add del">
        <pc:chgData name="Devid Treuling" userId="59319ebe-00e0-4bed-b2ef-326bd7e50483" providerId="ADAL" clId="{398C985C-4939-4904-9544-A192F358B56A}" dt="2020-05-20T16:13:01.327" v="672" actId="2696"/>
        <pc:sldMkLst>
          <pc:docMk/>
          <pc:sldMk cId="3708133370" sldId="271"/>
        </pc:sldMkLst>
      </pc:sldChg>
      <pc:sldChg chg="add del">
        <pc:chgData name="Devid Treuling" userId="59319ebe-00e0-4bed-b2ef-326bd7e50483" providerId="ADAL" clId="{398C985C-4939-4904-9544-A192F358B56A}" dt="2020-05-20T16:05:25.393" v="302" actId="2696"/>
        <pc:sldMkLst>
          <pc:docMk/>
          <pc:sldMk cId="3713382052" sldId="271"/>
        </pc:sldMkLst>
      </pc:sldChg>
      <pc:sldChg chg="add del">
        <pc:chgData name="Devid Treuling" userId="59319ebe-00e0-4bed-b2ef-326bd7e50483" providerId="ADAL" clId="{398C985C-4939-4904-9544-A192F358B56A}" dt="2020-05-20T16:05:25.442" v="314" actId="2696"/>
        <pc:sldMkLst>
          <pc:docMk/>
          <pc:sldMk cId="3746515406" sldId="271"/>
        </pc:sldMkLst>
      </pc:sldChg>
      <pc:sldChg chg="add del">
        <pc:chgData name="Devid Treuling" userId="59319ebe-00e0-4bed-b2ef-326bd7e50483" providerId="ADAL" clId="{398C985C-4939-4904-9544-A192F358B56A}" dt="2020-05-20T16:13:01.220" v="656" actId="2696"/>
        <pc:sldMkLst>
          <pc:docMk/>
          <pc:sldMk cId="3803061972" sldId="271"/>
        </pc:sldMkLst>
      </pc:sldChg>
      <pc:sldChg chg="add del">
        <pc:chgData name="Devid Treuling" userId="59319ebe-00e0-4bed-b2ef-326bd7e50483" providerId="ADAL" clId="{398C985C-4939-4904-9544-A192F358B56A}" dt="2020-05-20T16:13:01.102" v="636" actId="2696"/>
        <pc:sldMkLst>
          <pc:docMk/>
          <pc:sldMk cId="3804608404" sldId="271"/>
        </pc:sldMkLst>
      </pc:sldChg>
      <pc:sldChg chg="add del">
        <pc:chgData name="Devid Treuling" userId="59319ebe-00e0-4bed-b2ef-326bd7e50483" providerId="ADAL" clId="{398C985C-4939-4904-9544-A192F358B56A}" dt="2020-05-20T16:04:46.399" v="237"/>
        <pc:sldMkLst>
          <pc:docMk/>
          <pc:sldMk cId="3820967589" sldId="271"/>
        </pc:sldMkLst>
      </pc:sldChg>
      <pc:sldChg chg="add del">
        <pc:chgData name="Devid Treuling" userId="59319ebe-00e0-4bed-b2ef-326bd7e50483" providerId="ADAL" clId="{398C985C-4939-4904-9544-A192F358B56A}" dt="2020-05-20T16:04:46.399" v="237"/>
        <pc:sldMkLst>
          <pc:docMk/>
          <pc:sldMk cId="3860819983" sldId="271"/>
        </pc:sldMkLst>
      </pc:sldChg>
      <pc:sldChg chg="add del">
        <pc:chgData name="Devid Treuling" userId="59319ebe-00e0-4bed-b2ef-326bd7e50483" providerId="ADAL" clId="{398C985C-4939-4904-9544-A192F358B56A}" dt="2020-05-20T16:04:46.399" v="237"/>
        <pc:sldMkLst>
          <pc:docMk/>
          <pc:sldMk cId="3861999348" sldId="271"/>
        </pc:sldMkLst>
      </pc:sldChg>
      <pc:sldChg chg="add del">
        <pc:chgData name="Devid Treuling" userId="59319ebe-00e0-4bed-b2ef-326bd7e50483" providerId="ADAL" clId="{398C985C-4939-4904-9544-A192F358B56A}" dt="2020-05-20T16:13:00.987" v="620" actId="2696"/>
        <pc:sldMkLst>
          <pc:docMk/>
          <pc:sldMk cId="3875115115" sldId="271"/>
        </pc:sldMkLst>
      </pc:sldChg>
      <pc:sldChg chg="add del">
        <pc:chgData name="Devid Treuling" userId="59319ebe-00e0-4bed-b2ef-326bd7e50483" providerId="ADAL" clId="{398C985C-4939-4904-9544-A192F358B56A}" dt="2020-05-20T16:13:01.353" v="676" actId="2696"/>
        <pc:sldMkLst>
          <pc:docMk/>
          <pc:sldMk cId="3889826737" sldId="271"/>
        </pc:sldMkLst>
      </pc:sldChg>
      <pc:sldChg chg="add del">
        <pc:chgData name="Devid Treuling" userId="59319ebe-00e0-4bed-b2ef-326bd7e50483" providerId="ADAL" clId="{398C985C-4939-4904-9544-A192F358B56A}" dt="2020-05-20T16:05:25.410" v="306" actId="2696"/>
        <pc:sldMkLst>
          <pc:docMk/>
          <pc:sldMk cId="3951038472" sldId="271"/>
        </pc:sldMkLst>
      </pc:sldChg>
      <pc:sldChg chg="add del">
        <pc:chgData name="Devid Treuling" userId="59319ebe-00e0-4bed-b2ef-326bd7e50483" providerId="ADAL" clId="{398C985C-4939-4904-9544-A192F358B56A}" dt="2020-05-20T16:04:46.399" v="237"/>
        <pc:sldMkLst>
          <pc:docMk/>
          <pc:sldMk cId="3962659254" sldId="271"/>
        </pc:sldMkLst>
      </pc:sldChg>
      <pc:sldChg chg="add del">
        <pc:chgData name="Devid Treuling" userId="59319ebe-00e0-4bed-b2ef-326bd7e50483" providerId="ADAL" clId="{398C985C-4939-4904-9544-A192F358B56A}" dt="2020-05-20T16:08:52.618" v="450" actId="2696"/>
        <pc:sldMkLst>
          <pc:docMk/>
          <pc:sldMk cId="3968900325" sldId="271"/>
        </pc:sldMkLst>
      </pc:sldChg>
      <pc:sldChg chg="add del">
        <pc:chgData name="Devid Treuling" userId="59319ebe-00e0-4bed-b2ef-326bd7e50483" providerId="ADAL" clId="{398C985C-4939-4904-9544-A192F358B56A}" dt="2020-05-20T16:08:52.716" v="472" actId="2696"/>
        <pc:sldMkLst>
          <pc:docMk/>
          <pc:sldMk cId="3990357291" sldId="271"/>
        </pc:sldMkLst>
      </pc:sldChg>
      <pc:sldChg chg="add del">
        <pc:chgData name="Devid Treuling" userId="59319ebe-00e0-4bed-b2ef-326bd7e50483" providerId="ADAL" clId="{398C985C-4939-4904-9544-A192F358B56A}" dt="2020-05-20T16:13:01.163" v="646" actId="2696"/>
        <pc:sldMkLst>
          <pc:docMk/>
          <pc:sldMk cId="4021555259" sldId="271"/>
        </pc:sldMkLst>
      </pc:sldChg>
      <pc:sldChg chg="add del">
        <pc:chgData name="Devid Treuling" userId="59319ebe-00e0-4bed-b2ef-326bd7e50483" providerId="ADAL" clId="{398C985C-4939-4904-9544-A192F358B56A}" dt="2020-05-20T16:13:01.199" v="652" actId="2696"/>
        <pc:sldMkLst>
          <pc:docMk/>
          <pc:sldMk cId="4027013660" sldId="271"/>
        </pc:sldMkLst>
      </pc:sldChg>
      <pc:sldChg chg="add del">
        <pc:chgData name="Devid Treuling" userId="59319ebe-00e0-4bed-b2ef-326bd7e50483" providerId="ADAL" clId="{398C985C-4939-4904-9544-A192F358B56A}" dt="2020-05-20T16:04:46.399" v="237"/>
        <pc:sldMkLst>
          <pc:docMk/>
          <pc:sldMk cId="4092232106" sldId="271"/>
        </pc:sldMkLst>
      </pc:sldChg>
      <pc:sldChg chg="add del">
        <pc:chgData name="Devid Treuling" userId="59319ebe-00e0-4bed-b2ef-326bd7e50483" providerId="ADAL" clId="{398C985C-4939-4904-9544-A192F358B56A}" dt="2020-05-20T16:05:25.267" v="268" actId="2696"/>
        <pc:sldMkLst>
          <pc:docMk/>
          <pc:sldMk cId="4102144873" sldId="271"/>
        </pc:sldMkLst>
      </pc:sldChg>
      <pc:sldChg chg="add del">
        <pc:chgData name="Devid Treuling" userId="59319ebe-00e0-4bed-b2ef-326bd7e50483" providerId="ADAL" clId="{398C985C-4939-4904-9544-A192F358B56A}" dt="2020-05-20T16:04:46.399" v="237"/>
        <pc:sldMkLst>
          <pc:docMk/>
          <pc:sldMk cId="4105628903" sldId="271"/>
        </pc:sldMkLst>
      </pc:sldChg>
      <pc:sldChg chg="add del">
        <pc:chgData name="Devid Treuling" userId="59319ebe-00e0-4bed-b2ef-326bd7e50483" providerId="ADAL" clId="{398C985C-4939-4904-9544-A192F358B56A}" dt="2020-05-20T16:08:52.691" v="466" actId="2696"/>
        <pc:sldMkLst>
          <pc:docMk/>
          <pc:sldMk cId="4154538183" sldId="271"/>
        </pc:sldMkLst>
      </pc:sldChg>
      <pc:sldChg chg="add del">
        <pc:chgData name="Devid Treuling" userId="59319ebe-00e0-4bed-b2ef-326bd7e50483" providerId="ADAL" clId="{398C985C-4939-4904-9544-A192F358B56A}" dt="2020-05-20T16:08:52.839" v="500" actId="2696"/>
        <pc:sldMkLst>
          <pc:docMk/>
          <pc:sldMk cId="4170583464" sldId="271"/>
        </pc:sldMkLst>
      </pc:sldChg>
      <pc:sldChg chg="add del">
        <pc:chgData name="Devid Treuling" userId="59319ebe-00e0-4bed-b2ef-326bd7e50483" providerId="ADAL" clId="{398C985C-4939-4904-9544-A192F358B56A}" dt="2020-05-20T16:13:00.949" v="614" actId="2696"/>
        <pc:sldMkLst>
          <pc:docMk/>
          <pc:sldMk cId="4180979615" sldId="271"/>
        </pc:sldMkLst>
      </pc:sldChg>
      <pc:sldChg chg="add del">
        <pc:chgData name="Devid Treuling" userId="59319ebe-00e0-4bed-b2ef-326bd7e50483" providerId="ADAL" clId="{398C985C-4939-4904-9544-A192F358B56A}" dt="2020-05-20T16:08:52.699" v="468" actId="2696"/>
        <pc:sldMkLst>
          <pc:docMk/>
          <pc:sldMk cId="4202439140" sldId="271"/>
        </pc:sldMkLst>
      </pc:sldChg>
      <pc:sldChg chg="add del">
        <pc:chgData name="Devid Treuling" userId="59319ebe-00e0-4bed-b2ef-326bd7e50483" providerId="ADAL" clId="{398C985C-4939-4904-9544-A192F358B56A}" dt="2020-05-20T16:08:52.796" v="490" actId="2696"/>
        <pc:sldMkLst>
          <pc:docMk/>
          <pc:sldMk cId="4208943033" sldId="271"/>
        </pc:sldMkLst>
      </pc:sldChg>
      <pc:sldChg chg="add del">
        <pc:chgData name="Devid Treuling" userId="59319ebe-00e0-4bed-b2ef-326bd7e50483" providerId="ADAL" clId="{398C985C-4939-4904-9544-A192F358B56A}" dt="2020-05-20T16:08:52.639" v="454" actId="2696"/>
        <pc:sldMkLst>
          <pc:docMk/>
          <pc:sldMk cId="4247461440" sldId="271"/>
        </pc:sldMkLst>
      </pc:sldChg>
      <pc:sldChg chg="add del">
        <pc:chgData name="Devid Treuling" userId="59319ebe-00e0-4bed-b2ef-326bd7e50483" providerId="ADAL" clId="{398C985C-4939-4904-9544-A192F358B56A}" dt="2020-05-20T16:05:25.497" v="326" actId="2696"/>
        <pc:sldMkLst>
          <pc:docMk/>
          <pc:sldMk cId="4262531944" sldId="271"/>
        </pc:sldMkLst>
      </pc:sldChg>
      <pc:sldChg chg="add del">
        <pc:chgData name="Devid Treuling" userId="59319ebe-00e0-4bed-b2ef-326bd7e50483" providerId="ADAL" clId="{398C985C-4939-4904-9544-A192F358B56A}" dt="2020-05-20T16:04:46.399" v="237"/>
        <pc:sldMkLst>
          <pc:docMk/>
          <pc:sldMk cId="4285258409" sldId="271"/>
        </pc:sldMkLst>
      </pc:sldChg>
      <pc:sldChg chg="add del">
        <pc:chgData name="Devid Treuling" userId="59319ebe-00e0-4bed-b2ef-326bd7e50483" providerId="ADAL" clId="{398C985C-4939-4904-9544-A192F358B56A}" dt="2020-05-20T16:13:01.365" v="678" actId="2696"/>
        <pc:sldMkLst>
          <pc:docMk/>
          <pc:sldMk cId="4292311958" sldId="271"/>
        </pc:sldMkLst>
      </pc:sldChg>
      <pc:sldMasterChg chg="addSp modSp add del addSldLayout delSldLayout">
        <pc:chgData name="Devid Treuling" userId="59319ebe-00e0-4bed-b2ef-326bd7e50483" providerId="ADAL" clId="{398C985C-4939-4904-9544-A192F358B56A}" dt="2020-05-20T16:04:45.595" v="192" actId="2696"/>
        <pc:sldMasterMkLst>
          <pc:docMk/>
          <pc:sldMasterMk cId="2651484743" sldId="2147483864"/>
        </pc:sldMasterMkLst>
        <pc:spChg chg="add mod">
          <ac:chgData name="Devid Treuling" userId="59319ebe-00e0-4bed-b2ef-326bd7e50483" providerId="ADAL" clId="{398C985C-4939-4904-9544-A192F358B56A}" dt="2020-05-20T16:04:17.045" v="0"/>
          <ac:spMkLst>
            <pc:docMk/>
            <pc:sldMasterMk cId="2651484743" sldId="2147483864"/>
            <ac:spMk id="2" creationId="{2CE15B16-B15B-4C97-B68A-638EA796364C}"/>
          </ac:spMkLst>
        </pc:spChg>
        <pc:spChg chg="add mod">
          <ac:chgData name="Devid Treuling" userId="59319ebe-00e0-4bed-b2ef-326bd7e50483" providerId="ADAL" clId="{398C985C-4939-4904-9544-A192F358B56A}" dt="2020-05-20T16:04:17.045" v="0"/>
          <ac:spMkLst>
            <pc:docMk/>
            <pc:sldMasterMk cId="2651484743" sldId="2147483864"/>
            <ac:spMk id="3" creationId="{D1756289-8BA9-47CC-8905-5F465C07470F}"/>
          </ac:spMkLst>
        </pc:spChg>
        <pc:spChg chg="add mod">
          <ac:chgData name="Devid Treuling" userId="59319ebe-00e0-4bed-b2ef-326bd7e50483" providerId="ADAL" clId="{398C985C-4939-4904-9544-A192F358B56A}" dt="2020-05-20T16:04:17.045" v="0"/>
          <ac:spMkLst>
            <pc:docMk/>
            <pc:sldMasterMk cId="2651484743" sldId="2147483864"/>
            <ac:spMk id="4" creationId="{53AFC883-3A4A-4493-B5C8-49728E9C102B}"/>
          </ac:spMkLst>
        </pc:spChg>
        <pc:spChg chg="add mod">
          <ac:chgData name="Devid Treuling" userId="59319ebe-00e0-4bed-b2ef-326bd7e50483" providerId="ADAL" clId="{398C985C-4939-4904-9544-A192F358B56A}" dt="2020-05-20T16:04:17.045" v="0"/>
          <ac:spMkLst>
            <pc:docMk/>
            <pc:sldMasterMk cId="2651484743" sldId="2147483864"/>
            <ac:spMk id="5" creationId="{1B0CE53B-908F-472F-902E-44CEC875B767}"/>
          </ac:spMkLst>
        </pc:spChg>
        <pc:spChg chg="add mod">
          <ac:chgData name="Devid Treuling" userId="59319ebe-00e0-4bed-b2ef-326bd7e50483" providerId="ADAL" clId="{398C985C-4939-4904-9544-A192F358B56A}" dt="2020-05-20T16:04:17.045" v="0"/>
          <ac:spMkLst>
            <pc:docMk/>
            <pc:sldMasterMk cId="2651484743" sldId="2147483864"/>
            <ac:spMk id="6" creationId="{60910DF6-470C-4FD2-AEB3-F91703A85F66}"/>
          </ac:spMkLst>
        </pc:spChg>
        <pc:sldLayoutChg chg="add del">
          <pc:chgData name="Devid Treuling" userId="59319ebe-00e0-4bed-b2ef-326bd7e50483" providerId="ADAL" clId="{398C985C-4939-4904-9544-A192F358B56A}" dt="2020-05-20T16:04:45.595" v="192" actId="2696"/>
          <pc:sldLayoutMkLst>
            <pc:docMk/>
            <pc:sldMasterMk cId="2651484743" sldId="2147483864"/>
            <pc:sldLayoutMk cId="1726332788" sldId="2147483865"/>
          </pc:sldLayoutMkLst>
        </pc:sldLayoutChg>
        <pc:sldLayoutChg chg="add del">
          <pc:chgData name="Devid Treuling" userId="59319ebe-00e0-4bed-b2ef-326bd7e50483" providerId="ADAL" clId="{398C985C-4939-4904-9544-A192F358B56A}" dt="2020-05-20T16:04:45.594" v="191" actId="2696"/>
          <pc:sldLayoutMkLst>
            <pc:docMk/>
            <pc:sldMasterMk cId="2651484743" sldId="2147483864"/>
            <pc:sldLayoutMk cId="4077783673" sldId="2147483866"/>
          </pc:sldLayoutMkLst>
        </pc:sldLayoutChg>
        <pc:sldLayoutChg chg="add del">
          <pc:chgData name="Devid Treuling" userId="59319ebe-00e0-4bed-b2ef-326bd7e50483" providerId="ADAL" clId="{398C985C-4939-4904-9544-A192F358B56A}" dt="2020-05-20T16:04:45.593" v="190" actId="2696"/>
          <pc:sldLayoutMkLst>
            <pc:docMk/>
            <pc:sldMasterMk cId="2651484743" sldId="2147483864"/>
            <pc:sldLayoutMk cId="3055791324" sldId="2147483867"/>
          </pc:sldLayoutMkLst>
        </pc:sldLayoutChg>
        <pc:sldLayoutChg chg="add del">
          <pc:chgData name="Devid Treuling" userId="59319ebe-00e0-4bed-b2ef-326bd7e50483" providerId="ADAL" clId="{398C985C-4939-4904-9544-A192F358B56A}" dt="2020-05-20T16:04:45.593" v="189" actId="2696"/>
          <pc:sldLayoutMkLst>
            <pc:docMk/>
            <pc:sldMasterMk cId="2651484743" sldId="2147483864"/>
            <pc:sldLayoutMk cId="4064112885" sldId="2147483868"/>
          </pc:sldLayoutMkLst>
        </pc:sldLayoutChg>
        <pc:sldLayoutChg chg="add del">
          <pc:chgData name="Devid Treuling" userId="59319ebe-00e0-4bed-b2ef-326bd7e50483" providerId="ADAL" clId="{398C985C-4939-4904-9544-A192F358B56A}" dt="2020-05-20T16:04:45.592" v="188" actId="2696"/>
          <pc:sldLayoutMkLst>
            <pc:docMk/>
            <pc:sldMasterMk cId="2651484743" sldId="2147483864"/>
            <pc:sldLayoutMk cId="3867488135" sldId="2147483869"/>
          </pc:sldLayoutMkLst>
        </pc:sldLayoutChg>
        <pc:sldLayoutChg chg="add del">
          <pc:chgData name="Devid Treuling" userId="59319ebe-00e0-4bed-b2ef-326bd7e50483" providerId="ADAL" clId="{398C985C-4939-4904-9544-A192F358B56A}" dt="2020-05-20T16:04:45.591" v="187" actId="2696"/>
          <pc:sldLayoutMkLst>
            <pc:docMk/>
            <pc:sldMasterMk cId="2651484743" sldId="2147483864"/>
            <pc:sldLayoutMk cId="1924743428" sldId="2147483870"/>
          </pc:sldLayoutMkLst>
        </pc:sldLayoutChg>
        <pc:sldLayoutChg chg="add del">
          <pc:chgData name="Devid Treuling" userId="59319ebe-00e0-4bed-b2ef-326bd7e50483" providerId="ADAL" clId="{398C985C-4939-4904-9544-A192F358B56A}" dt="2020-05-20T16:04:45.591" v="186" actId="2696"/>
          <pc:sldLayoutMkLst>
            <pc:docMk/>
            <pc:sldMasterMk cId="2651484743" sldId="2147483864"/>
            <pc:sldLayoutMk cId="4077229496" sldId="2147483871"/>
          </pc:sldLayoutMkLst>
        </pc:sldLayoutChg>
        <pc:sldLayoutChg chg="add del">
          <pc:chgData name="Devid Treuling" userId="59319ebe-00e0-4bed-b2ef-326bd7e50483" providerId="ADAL" clId="{398C985C-4939-4904-9544-A192F358B56A}" dt="2020-05-20T16:04:45.590" v="185" actId="2696"/>
          <pc:sldLayoutMkLst>
            <pc:docMk/>
            <pc:sldMasterMk cId="2651484743" sldId="2147483864"/>
            <pc:sldLayoutMk cId="2537157217" sldId="2147483872"/>
          </pc:sldLayoutMkLst>
        </pc:sldLayoutChg>
        <pc:sldLayoutChg chg="add del">
          <pc:chgData name="Devid Treuling" userId="59319ebe-00e0-4bed-b2ef-326bd7e50483" providerId="ADAL" clId="{398C985C-4939-4904-9544-A192F358B56A}" dt="2020-05-20T16:04:45.590" v="184" actId="2696"/>
          <pc:sldLayoutMkLst>
            <pc:docMk/>
            <pc:sldMasterMk cId="2651484743" sldId="2147483864"/>
            <pc:sldLayoutMk cId="1993860652" sldId="2147483873"/>
          </pc:sldLayoutMkLst>
        </pc:sldLayoutChg>
        <pc:sldLayoutChg chg="add del">
          <pc:chgData name="Devid Treuling" userId="59319ebe-00e0-4bed-b2ef-326bd7e50483" providerId="ADAL" clId="{398C985C-4939-4904-9544-A192F358B56A}" dt="2020-05-20T16:04:45.589" v="183" actId="2696"/>
          <pc:sldLayoutMkLst>
            <pc:docMk/>
            <pc:sldMasterMk cId="2651484743" sldId="2147483864"/>
            <pc:sldLayoutMk cId="3843053444" sldId="2147483874"/>
          </pc:sldLayoutMkLst>
        </pc:sldLayoutChg>
        <pc:sldLayoutChg chg="add del">
          <pc:chgData name="Devid Treuling" userId="59319ebe-00e0-4bed-b2ef-326bd7e50483" providerId="ADAL" clId="{398C985C-4939-4904-9544-A192F358B56A}" dt="2020-05-20T16:04:45.589" v="182" actId="2696"/>
          <pc:sldLayoutMkLst>
            <pc:docMk/>
            <pc:sldMasterMk cId="2651484743" sldId="2147483864"/>
            <pc:sldLayoutMk cId="3703745266" sldId="2147483875"/>
          </pc:sldLayoutMkLst>
        </pc:sldLayoutChg>
      </pc:sldMasterChg>
      <pc:sldMasterChg chg="addSp modSp del delSldLayout">
        <pc:chgData name="Devid Treuling" userId="59319ebe-00e0-4bed-b2ef-326bd7e50483" providerId="ADAL" clId="{398C985C-4939-4904-9544-A192F358B56A}" dt="2020-05-20T16:05:25.612" v="415" actId="2696"/>
        <pc:sldMasterMkLst>
          <pc:docMk/>
          <pc:sldMasterMk cId="3841622228" sldId="2147483864"/>
        </pc:sldMasterMkLst>
        <pc:spChg chg="add mod">
          <ac:chgData name="Devid Treuling" userId="59319ebe-00e0-4bed-b2ef-326bd7e50483" providerId="ADAL" clId="{398C985C-4939-4904-9544-A192F358B56A}" dt="2020-05-20T16:05:25.005" v="238"/>
          <ac:spMkLst>
            <pc:docMk/>
            <pc:sldMasterMk cId="3841622228" sldId="2147483864"/>
            <ac:spMk id="2" creationId="{BC80205A-1D71-426D-8B86-50F08C43DBC7}"/>
          </ac:spMkLst>
        </pc:spChg>
        <pc:spChg chg="add mod">
          <ac:chgData name="Devid Treuling" userId="59319ebe-00e0-4bed-b2ef-326bd7e50483" providerId="ADAL" clId="{398C985C-4939-4904-9544-A192F358B56A}" dt="2020-05-20T16:05:25.005" v="238"/>
          <ac:spMkLst>
            <pc:docMk/>
            <pc:sldMasterMk cId="3841622228" sldId="2147483864"/>
            <ac:spMk id="3" creationId="{DE4819E8-09DB-44E5-9F7C-CA9CA0AF5701}"/>
          </ac:spMkLst>
        </pc:spChg>
        <pc:spChg chg="add mod">
          <ac:chgData name="Devid Treuling" userId="59319ebe-00e0-4bed-b2ef-326bd7e50483" providerId="ADAL" clId="{398C985C-4939-4904-9544-A192F358B56A}" dt="2020-05-20T16:05:25.005" v="238"/>
          <ac:spMkLst>
            <pc:docMk/>
            <pc:sldMasterMk cId="3841622228" sldId="2147483864"/>
            <ac:spMk id="4" creationId="{B55C3FA7-5518-4DCC-A786-CDEF632264C2}"/>
          </ac:spMkLst>
        </pc:spChg>
        <pc:spChg chg="add mod">
          <ac:chgData name="Devid Treuling" userId="59319ebe-00e0-4bed-b2ef-326bd7e50483" providerId="ADAL" clId="{398C985C-4939-4904-9544-A192F358B56A}" dt="2020-05-20T16:05:25.005" v="238"/>
          <ac:spMkLst>
            <pc:docMk/>
            <pc:sldMasterMk cId="3841622228" sldId="2147483864"/>
            <ac:spMk id="5" creationId="{5D794B3F-34C9-4131-A3F7-73D485A88795}"/>
          </ac:spMkLst>
        </pc:spChg>
        <pc:spChg chg="add mod">
          <ac:chgData name="Devid Treuling" userId="59319ebe-00e0-4bed-b2ef-326bd7e50483" providerId="ADAL" clId="{398C985C-4939-4904-9544-A192F358B56A}" dt="2020-05-20T16:05:25.005" v="238"/>
          <ac:spMkLst>
            <pc:docMk/>
            <pc:sldMasterMk cId="3841622228" sldId="2147483864"/>
            <ac:spMk id="6" creationId="{5D8B3BE7-4094-446E-AEFD-22593C51CB00}"/>
          </ac:spMkLst>
        </pc:spChg>
        <pc:sldLayoutChg chg="del">
          <pc:chgData name="Devid Treuling" userId="59319ebe-00e0-4bed-b2ef-326bd7e50483" providerId="ADAL" clId="{398C985C-4939-4904-9544-A192F358B56A}" dt="2020-05-20T16:05:25.590" v="404" actId="2696"/>
          <pc:sldLayoutMkLst>
            <pc:docMk/>
            <pc:sldMasterMk cId="3841622228" sldId="2147483864"/>
            <pc:sldLayoutMk cId="1893573689" sldId="2147483865"/>
          </pc:sldLayoutMkLst>
        </pc:sldLayoutChg>
        <pc:sldLayoutChg chg="del">
          <pc:chgData name="Devid Treuling" userId="59319ebe-00e0-4bed-b2ef-326bd7e50483" providerId="ADAL" clId="{398C985C-4939-4904-9544-A192F358B56A}" dt="2020-05-20T16:05:25.592" v="405" actId="2696"/>
          <pc:sldLayoutMkLst>
            <pc:docMk/>
            <pc:sldMasterMk cId="3841622228" sldId="2147483864"/>
            <pc:sldLayoutMk cId="3399285681" sldId="2147483866"/>
          </pc:sldLayoutMkLst>
        </pc:sldLayoutChg>
        <pc:sldLayoutChg chg="del">
          <pc:chgData name="Devid Treuling" userId="59319ebe-00e0-4bed-b2ef-326bd7e50483" providerId="ADAL" clId="{398C985C-4939-4904-9544-A192F358B56A}" dt="2020-05-20T16:05:25.594" v="406" actId="2696"/>
          <pc:sldLayoutMkLst>
            <pc:docMk/>
            <pc:sldMasterMk cId="3841622228" sldId="2147483864"/>
            <pc:sldLayoutMk cId="2077479476" sldId="2147483867"/>
          </pc:sldLayoutMkLst>
        </pc:sldLayoutChg>
        <pc:sldLayoutChg chg="del">
          <pc:chgData name="Devid Treuling" userId="59319ebe-00e0-4bed-b2ef-326bd7e50483" providerId="ADAL" clId="{398C985C-4939-4904-9544-A192F358B56A}" dt="2020-05-20T16:05:25.596" v="407" actId="2696"/>
          <pc:sldLayoutMkLst>
            <pc:docMk/>
            <pc:sldMasterMk cId="3841622228" sldId="2147483864"/>
            <pc:sldLayoutMk cId="565445237" sldId="2147483868"/>
          </pc:sldLayoutMkLst>
        </pc:sldLayoutChg>
        <pc:sldLayoutChg chg="del">
          <pc:chgData name="Devid Treuling" userId="59319ebe-00e0-4bed-b2ef-326bd7e50483" providerId="ADAL" clId="{398C985C-4939-4904-9544-A192F358B56A}" dt="2020-05-20T16:05:25.598" v="408" actId="2696"/>
          <pc:sldLayoutMkLst>
            <pc:docMk/>
            <pc:sldMasterMk cId="3841622228" sldId="2147483864"/>
            <pc:sldLayoutMk cId="2255048477" sldId="2147483869"/>
          </pc:sldLayoutMkLst>
        </pc:sldLayoutChg>
        <pc:sldLayoutChg chg="del">
          <pc:chgData name="Devid Treuling" userId="59319ebe-00e0-4bed-b2ef-326bd7e50483" providerId="ADAL" clId="{398C985C-4939-4904-9544-A192F358B56A}" dt="2020-05-20T16:05:25.600" v="409" actId="2696"/>
          <pc:sldLayoutMkLst>
            <pc:docMk/>
            <pc:sldMasterMk cId="3841622228" sldId="2147483864"/>
            <pc:sldLayoutMk cId="421591625" sldId="2147483870"/>
          </pc:sldLayoutMkLst>
        </pc:sldLayoutChg>
        <pc:sldLayoutChg chg="del">
          <pc:chgData name="Devid Treuling" userId="59319ebe-00e0-4bed-b2ef-326bd7e50483" providerId="ADAL" clId="{398C985C-4939-4904-9544-A192F358B56A}" dt="2020-05-20T16:05:25.602" v="410" actId="2696"/>
          <pc:sldLayoutMkLst>
            <pc:docMk/>
            <pc:sldMasterMk cId="3841622228" sldId="2147483864"/>
            <pc:sldLayoutMk cId="2138353233" sldId="2147483871"/>
          </pc:sldLayoutMkLst>
        </pc:sldLayoutChg>
        <pc:sldLayoutChg chg="del">
          <pc:chgData name="Devid Treuling" userId="59319ebe-00e0-4bed-b2ef-326bd7e50483" providerId="ADAL" clId="{398C985C-4939-4904-9544-A192F358B56A}" dt="2020-05-20T16:05:25.604" v="411" actId="2696"/>
          <pc:sldLayoutMkLst>
            <pc:docMk/>
            <pc:sldMasterMk cId="3841622228" sldId="2147483864"/>
            <pc:sldLayoutMk cId="1753777085" sldId="2147483872"/>
          </pc:sldLayoutMkLst>
        </pc:sldLayoutChg>
        <pc:sldLayoutChg chg="del">
          <pc:chgData name="Devid Treuling" userId="59319ebe-00e0-4bed-b2ef-326bd7e50483" providerId="ADAL" clId="{398C985C-4939-4904-9544-A192F358B56A}" dt="2020-05-20T16:05:25.606" v="412" actId="2696"/>
          <pc:sldLayoutMkLst>
            <pc:docMk/>
            <pc:sldMasterMk cId="3841622228" sldId="2147483864"/>
            <pc:sldLayoutMk cId="470442704" sldId="2147483873"/>
          </pc:sldLayoutMkLst>
        </pc:sldLayoutChg>
        <pc:sldLayoutChg chg="del">
          <pc:chgData name="Devid Treuling" userId="59319ebe-00e0-4bed-b2ef-326bd7e50483" providerId="ADAL" clId="{398C985C-4939-4904-9544-A192F358B56A}" dt="2020-05-20T16:05:25.608" v="413" actId="2696"/>
          <pc:sldLayoutMkLst>
            <pc:docMk/>
            <pc:sldMasterMk cId="3841622228" sldId="2147483864"/>
            <pc:sldLayoutMk cId="3970212082" sldId="2147483874"/>
          </pc:sldLayoutMkLst>
        </pc:sldLayoutChg>
        <pc:sldLayoutChg chg="del">
          <pc:chgData name="Devid Treuling" userId="59319ebe-00e0-4bed-b2ef-326bd7e50483" providerId="ADAL" clId="{398C985C-4939-4904-9544-A192F358B56A}" dt="2020-05-20T16:05:25.610" v="414" actId="2696"/>
          <pc:sldLayoutMkLst>
            <pc:docMk/>
            <pc:sldMasterMk cId="3841622228" sldId="2147483864"/>
            <pc:sldLayoutMk cId="2960233629" sldId="2147483875"/>
          </pc:sldLayoutMkLst>
        </pc:sldLayoutChg>
      </pc:sldMasterChg>
      <pc:sldMasterChg chg="addSp modSp del delSldLayout">
        <pc:chgData name="Devid Treuling" userId="59319ebe-00e0-4bed-b2ef-326bd7e50483" providerId="ADAL" clId="{398C985C-4939-4904-9544-A192F358B56A}" dt="2020-05-20T16:08:52.987" v="595" actId="2696"/>
        <pc:sldMasterMkLst>
          <pc:docMk/>
          <pc:sldMasterMk cId="1358694653" sldId="2147483921"/>
        </pc:sldMasterMkLst>
        <pc:spChg chg="add mod">
          <ac:chgData name="Devid Treuling" userId="59319ebe-00e0-4bed-b2ef-326bd7e50483" providerId="ADAL" clId="{398C985C-4939-4904-9544-A192F358B56A}" dt="2020-05-20T16:08:52.015" v="417"/>
          <ac:spMkLst>
            <pc:docMk/>
            <pc:sldMasterMk cId="1358694653" sldId="2147483921"/>
            <ac:spMk id="2" creationId="{3B4B49F4-1210-4ACB-BE70-E1F8DFBBB0CC}"/>
          </ac:spMkLst>
        </pc:spChg>
        <pc:spChg chg="add mod">
          <ac:chgData name="Devid Treuling" userId="59319ebe-00e0-4bed-b2ef-326bd7e50483" providerId="ADAL" clId="{398C985C-4939-4904-9544-A192F358B56A}" dt="2020-05-20T16:08:52.015" v="417"/>
          <ac:spMkLst>
            <pc:docMk/>
            <pc:sldMasterMk cId="1358694653" sldId="2147483921"/>
            <ac:spMk id="3" creationId="{88897D7F-6BAB-40F7-B16B-FF31ADFB7561}"/>
          </ac:spMkLst>
        </pc:spChg>
        <pc:spChg chg="add mod">
          <ac:chgData name="Devid Treuling" userId="59319ebe-00e0-4bed-b2ef-326bd7e50483" providerId="ADAL" clId="{398C985C-4939-4904-9544-A192F358B56A}" dt="2020-05-20T16:08:52.015" v="417"/>
          <ac:spMkLst>
            <pc:docMk/>
            <pc:sldMasterMk cId="1358694653" sldId="2147483921"/>
            <ac:spMk id="4" creationId="{02CBD53F-CA10-482F-B703-AE06BC17C5E2}"/>
          </ac:spMkLst>
        </pc:spChg>
        <pc:spChg chg="add mod">
          <ac:chgData name="Devid Treuling" userId="59319ebe-00e0-4bed-b2ef-326bd7e50483" providerId="ADAL" clId="{398C985C-4939-4904-9544-A192F358B56A}" dt="2020-05-20T16:08:52.015" v="417"/>
          <ac:spMkLst>
            <pc:docMk/>
            <pc:sldMasterMk cId="1358694653" sldId="2147483921"/>
            <ac:spMk id="5" creationId="{BA349910-FFA5-4E99-AD48-57221A54FB50}"/>
          </ac:spMkLst>
        </pc:spChg>
        <pc:spChg chg="add mod">
          <ac:chgData name="Devid Treuling" userId="59319ebe-00e0-4bed-b2ef-326bd7e50483" providerId="ADAL" clId="{398C985C-4939-4904-9544-A192F358B56A}" dt="2020-05-20T16:08:52.015" v="417"/>
          <ac:spMkLst>
            <pc:docMk/>
            <pc:sldMasterMk cId="1358694653" sldId="2147483921"/>
            <ac:spMk id="6" creationId="{49D1DC12-2F7F-497C-866E-631BA5802EA4}"/>
          </ac:spMkLst>
        </pc:spChg>
        <pc:sldLayoutChg chg="del">
          <pc:chgData name="Devid Treuling" userId="59319ebe-00e0-4bed-b2ef-326bd7e50483" providerId="ADAL" clId="{398C985C-4939-4904-9544-A192F358B56A}" dt="2020-05-20T16:08:52.966" v="584" actId="2696"/>
          <pc:sldLayoutMkLst>
            <pc:docMk/>
            <pc:sldMasterMk cId="1358694653" sldId="2147483921"/>
            <pc:sldLayoutMk cId="2810436917" sldId="2147483922"/>
          </pc:sldLayoutMkLst>
        </pc:sldLayoutChg>
        <pc:sldLayoutChg chg="del">
          <pc:chgData name="Devid Treuling" userId="59319ebe-00e0-4bed-b2ef-326bd7e50483" providerId="ADAL" clId="{398C985C-4939-4904-9544-A192F358B56A}" dt="2020-05-20T16:08:52.969" v="585" actId="2696"/>
          <pc:sldLayoutMkLst>
            <pc:docMk/>
            <pc:sldMasterMk cId="1358694653" sldId="2147483921"/>
            <pc:sldLayoutMk cId="2721730055" sldId="2147483923"/>
          </pc:sldLayoutMkLst>
        </pc:sldLayoutChg>
        <pc:sldLayoutChg chg="del">
          <pc:chgData name="Devid Treuling" userId="59319ebe-00e0-4bed-b2ef-326bd7e50483" providerId="ADAL" clId="{398C985C-4939-4904-9544-A192F358B56A}" dt="2020-05-20T16:08:52.970" v="586" actId="2696"/>
          <pc:sldLayoutMkLst>
            <pc:docMk/>
            <pc:sldMasterMk cId="1358694653" sldId="2147483921"/>
            <pc:sldLayoutMk cId="3179144291" sldId="2147483924"/>
          </pc:sldLayoutMkLst>
        </pc:sldLayoutChg>
        <pc:sldLayoutChg chg="del">
          <pc:chgData name="Devid Treuling" userId="59319ebe-00e0-4bed-b2ef-326bd7e50483" providerId="ADAL" clId="{398C985C-4939-4904-9544-A192F358B56A}" dt="2020-05-20T16:08:52.972" v="587" actId="2696"/>
          <pc:sldLayoutMkLst>
            <pc:docMk/>
            <pc:sldMasterMk cId="1358694653" sldId="2147483921"/>
            <pc:sldLayoutMk cId="1442391696" sldId="2147483925"/>
          </pc:sldLayoutMkLst>
        </pc:sldLayoutChg>
        <pc:sldLayoutChg chg="del">
          <pc:chgData name="Devid Treuling" userId="59319ebe-00e0-4bed-b2ef-326bd7e50483" providerId="ADAL" clId="{398C985C-4939-4904-9544-A192F358B56A}" dt="2020-05-20T16:08:52.974" v="588" actId="2696"/>
          <pc:sldLayoutMkLst>
            <pc:docMk/>
            <pc:sldMasterMk cId="1358694653" sldId="2147483921"/>
            <pc:sldLayoutMk cId="1649204090" sldId="2147483926"/>
          </pc:sldLayoutMkLst>
        </pc:sldLayoutChg>
        <pc:sldLayoutChg chg="del">
          <pc:chgData name="Devid Treuling" userId="59319ebe-00e0-4bed-b2ef-326bd7e50483" providerId="ADAL" clId="{398C985C-4939-4904-9544-A192F358B56A}" dt="2020-05-20T16:08:52.976" v="589" actId="2696"/>
          <pc:sldLayoutMkLst>
            <pc:docMk/>
            <pc:sldMasterMk cId="1358694653" sldId="2147483921"/>
            <pc:sldLayoutMk cId="3852108103" sldId="2147483927"/>
          </pc:sldLayoutMkLst>
        </pc:sldLayoutChg>
        <pc:sldLayoutChg chg="del">
          <pc:chgData name="Devid Treuling" userId="59319ebe-00e0-4bed-b2ef-326bd7e50483" providerId="ADAL" clId="{398C985C-4939-4904-9544-A192F358B56A}" dt="2020-05-20T16:08:52.977" v="590" actId="2696"/>
          <pc:sldLayoutMkLst>
            <pc:docMk/>
            <pc:sldMasterMk cId="1358694653" sldId="2147483921"/>
            <pc:sldLayoutMk cId="1534802247" sldId="2147483928"/>
          </pc:sldLayoutMkLst>
        </pc:sldLayoutChg>
        <pc:sldLayoutChg chg="del">
          <pc:chgData name="Devid Treuling" userId="59319ebe-00e0-4bed-b2ef-326bd7e50483" providerId="ADAL" clId="{398C985C-4939-4904-9544-A192F358B56A}" dt="2020-05-20T16:08:52.979" v="591" actId="2696"/>
          <pc:sldLayoutMkLst>
            <pc:docMk/>
            <pc:sldMasterMk cId="1358694653" sldId="2147483921"/>
            <pc:sldLayoutMk cId="3265015643" sldId="2147483929"/>
          </pc:sldLayoutMkLst>
        </pc:sldLayoutChg>
        <pc:sldLayoutChg chg="del">
          <pc:chgData name="Devid Treuling" userId="59319ebe-00e0-4bed-b2ef-326bd7e50483" providerId="ADAL" clId="{398C985C-4939-4904-9544-A192F358B56A}" dt="2020-05-20T16:08:52.981" v="592" actId="2696"/>
          <pc:sldLayoutMkLst>
            <pc:docMk/>
            <pc:sldMasterMk cId="1358694653" sldId="2147483921"/>
            <pc:sldLayoutMk cId="3394884444" sldId="2147483930"/>
          </pc:sldLayoutMkLst>
        </pc:sldLayoutChg>
        <pc:sldLayoutChg chg="del">
          <pc:chgData name="Devid Treuling" userId="59319ebe-00e0-4bed-b2ef-326bd7e50483" providerId="ADAL" clId="{398C985C-4939-4904-9544-A192F358B56A}" dt="2020-05-20T16:08:52.983" v="593" actId="2696"/>
          <pc:sldLayoutMkLst>
            <pc:docMk/>
            <pc:sldMasterMk cId="1358694653" sldId="2147483921"/>
            <pc:sldLayoutMk cId="345827871" sldId="2147483931"/>
          </pc:sldLayoutMkLst>
        </pc:sldLayoutChg>
        <pc:sldLayoutChg chg="del">
          <pc:chgData name="Devid Treuling" userId="59319ebe-00e0-4bed-b2ef-326bd7e50483" providerId="ADAL" clId="{398C985C-4939-4904-9544-A192F358B56A}" dt="2020-05-20T16:08:52.984" v="594" actId="2696"/>
          <pc:sldLayoutMkLst>
            <pc:docMk/>
            <pc:sldMasterMk cId="1358694653" sldId="2147483921"/>
            <pc:sldLayoutMk cId="2518630061" sldId="2147483932"/>
          </pc:sldLayoutMkLst>
        </pc:sldLayoutChg>
      </pc:sldMasterChg>
      <pc:sldMasterChg chg="addSp modSp del delSldLayout">
        <pc:chgData name="Devid Treuling" userId="59319ebe-00e0-4bed-b2ef-326bd7e50483" providerId="ADAL" clId="{398C985C-4939-4904-9544-A192F358B56A}" dt="2020-05-20T16:13:01.600" v="775" actId="2696"/>
        <pc:sldMasterMkLst>
          <pc:docMk/>
          <pc:sldMasterMk cId="2573477763" sldId="2147483978"/>
        </pc:sldMasterMkLst>
        <pc:spChg chg="add mod">
          <ac:chgData name="Devid Treuling" userId="59319ebe-00e0-4bed-b2ef-326bd7e50483" providerId="ADAL" clId="{398C985C-4939-4904-9544-A192F358B56A}" dt="2020-05-20T16:13:00.191" v="597"/>
          <ac:spMkLst>
            <pc:docMk/>
            <pc:sldMasterMk cId="2573477763" sldId="2147483978"/>
            <ac:spMk id="2" creationId="{574EE0C3-95FE-4DC8-8E83-69A5289CA23A}"/>
          </ac:spMkLst>
        </pc:spChg>
        <pc:spChg chg="add mod">
          <ac:chgData name="Devid Treuling" userId="59319ebe-00e0-4bed-b2ef-326bd7e50483" providerId="ADAL" clId="{398C985C-4939-4904-9544-A192F358B56A}" dt="2020-05-20T16:13:00.191" v="597"/>
          <ac:spMkLst>
            <pc:docMk/>
            <pc:sldMasterMk cId="2573477763" sldId="2147483978"/>
            <ac:spMk id="3" creationId="{9625F689-F8F2-4359-ACA5-946F256F9D23}"/>
          </ac:spMkLst>
        </pc:spChg>
        <pc:spChg chg="add mod">
          <ac:chgData name="Devid Treuling" userId="59319ebe-00e0-4bed-b2ef-326bd7e50483" providerId="ADAL" clId="{398C985C-4939-4904-9544-A192F358B56A}" dt="2020-05-20T16:13:00.191" v="597"/>
          <ac:spMkLst>
            <pc:docMk/>
            <pc:sldMasterMk cId="2573477763" sldId="2147483978"/>
            <ac:spMk id="4" creationId="{30C55F17-177B-4498-AF59-49F6AAB6EA13}"/>
          </ac:spMkLst>
        </pc:spChg>
        <pc:spChg chg="add mod">
          <ac:chgData name="Devid Treuling" userId="59319ebe-00e0-4bed-b2ef-326bd7e50483" providerId="ADAL" clId="{398C985C-4939-4904-9544-A192F358B56A}" dt="2020-05-20T16:13:00.191" v="597"/>
          <ac:spMkLst>
            <pc:docMk/>
            <pc:sldMasterMk cId="2573477763" sldId="2147483978"/>
            <ac:spMk id="5" creationId="{65AB059A-6658-4178-B0DB-F3B3B194DBE6}"/>
          </ac:spMkLst>
        </pc:spChg>
        <pc:spChg chg="add mod">
          <ac:chgData name="Devid Treuling" userId="59319ebe-00e0-4bed-b2ef-326bd7e50483" providerId="ADAL" clId="{398C985C-4939-4904-9544-A192F358B56A}" dt="2020-05-20T16:13:00.191" v="597"/>
          <ac:spMkLst>
            <pc:docMk/>
            <pc:sldMasterMk cId="2573477763" sldId="2147483978"/>
            <ac:spMk id="6" creationId="{1D18AEB3-05E5-44F0-A966-E41BCAE4496E}"/>
          </ac:spMkLst>
        </pc:spChg>
        <pc:sldLayoutChg chg="del">
          <pc:chgData name="Devid Treuling" userId="59319ebe-00e0-4bed-b2ef-326bd7e50483" providerId="ADAL" clId="{398C985C-4939-4904-9544-A192F358B56A}" dt="2020-05-20T16:13:01.566" v="764" actId="2696"/>
          <pc:sldLayoutMkLst>
            <pc:docMk/>
            <pc:sldMasterMk cId="2573477763" sldId="2147483978"/>
            <pc:sldLayoutMk cId="3528020602" sldId="2147483979"/>
          </pc:sldLayoutMkLst>
        </pc:sldLayoutChg>
        <pc:sldLayoutChg chg="del">
          <pc:chgData name="Devid Treuling" userId="59319ebe-00e0-4bed-b2ef-326bd7e50483" providerId="ADAL" clId="{398C985C-4939-4904-9544-A192F358B56A}" dt="2020-05-20T16:13:01.570" v="765" actId="2696"/>
          <pc:sldLayoutMkLst>
            <pc:docMk/>
            <pc:sldMasterMk cId="2573477763" sldId="2147483978"/>
            <pc:sldLayoutMk cId="3019794853" sldId="2147483980"/>
          </pc:sldLayoutMkLst>
        </pc:sldLayoutChg>
        <pc:sldLayoutChg chg="del">
          <pc:chgData name="Devid Treuling" userId="59319ebe-00e0-4bed-b2ef-326bd7e50483" providerId="ADAL" clId="{398C985C-4939-4904-9544-A192F358B56A}" dt="2020-05-20T16:13:01.573" v="766" actId="2696"/>
          <pc:sldLayoutMkLst>
            <pc:docMk/>
            <pc:sldMasterMk cId="2573477763" sldId="2147483978"/>
            <pc:sldLayoutMk cId="2987191947" sldId="2147483981"/>
          </pc:sldLayoutMkLst>
        </pc:sldLayoutChg>
        <pc:sldLayoutChg chg="del">
          <pc:chgData name="Devid Treuling" userId="59319ebe-00e0-4bed-b2ef-326bd7e50483" providerId="ADAL" clId="{398C985C-4939-4904-9544-A192F358B56A}" dt="2020-05-20T16:13:01.576" v="767" actId="2696"/>
          <pc:sldLayoutMkLst>
            <pc:docMk/>
            <pc:sldMasterMk cId="2573477763" sldId="2147483978"/>
            <pc:sldLayoutMk cId="218821904" sldId="2147483982"/>
          </pc:sldLayoutMkLst>
        </pc:sldLayoutChg>
        <pc:sldLayoutChg chg="del">
          <pc:chgData name="Devid Treuling" userId="59319ebe-00e0-4bed-b2ef-326bd7e50483" providerId="ADAL" clId="{398C985C-4939-4904-9544-A192F358B56A}" dt="2020-05-20T16:13:01.580" v="768" actId="2696"/>
          <pc:sldLayoutMkLst>
            <pc:docMk/>
            <pc:sldMasterMk cId="2573477763" sldId="2147483978"/>
            <pc:sldLayoutMk cId="513356965" sldId="2147483983"/>
          </pc:sldLayoutMkLst>
        </pc:sldLayoutChg>
        <pc:sldLayoutChg chg="del">
          <pc:chgData name="Devid Treuling" userId="59319ebe-00e0-4bed-b2ef-326bd7e50483" providerId="ADAL" clId="{398C985C-4939-4904-9544-A192F358B56A}" dt="2020-05-20T16:13:01.582" v="769" actId="2696"/>
          <pc:sldLayoutMkLst>
            <pc:docMk/>
            <pc:sldMasterMk cId="2573477763" sldId="2147483978"/>
            <pc:sldLayoutMk cId="1771020024" sldId="2147483984"/>
          </pc:sldLayoutMkLst>
        </pc:sldLayoutChg>
        <pc:sldLayoutChg chg="del">
          <pc:chgData name="Devid Treuling" userId="59319ebe-00e0-4bed-b2ef-326bd7e50483" providerId="ADAL" clId="{398C985C-4939-4904-9544-A192F358B56A}" dt="2020-05-20T16:13:01.585" v="770" actId="2696"/>
          <pc:sldLayoutMkLst>
            <pc:docMk/>
            <pc:sldMasterMk cId="2573477763" sldId="2147483978"/>
            <pc:sldLayoutMk cId="3534819392" sldId="2147483985"/>
          </pc:sldLayoutMkLst>
        </pc:sldLayoutChg>
        <pc:sldLayoutChg chg="del">
          <pc:chgData name="Devid Treuling" userId="59319ebe-00e0-4bed-b2ef-326bd7e50483" providerId="ADAL" clId="{398C985C-4939-4904-9544-A192F358B56A}" dt="2020-05-20T16:13:01.587" v="771" actId="2696"/>
          <pc:sldLayoutMkLst>
            <pc:docMk/>
            <pc:sldMasterMk cId="2573477763" sldId="2147483978"/>
            <pc:sldLayoutMk cId="342695629" sldId="2147483986"/>
          </pc:sldLayoutMkLst>
        </pc:sldLayoutChg>
        <pc:sldLayoutChg chg="del">
          <pc:chgData name="Devid Treuling" userId="59319ebe-00e0-4bed-b2ef-326bd7e50483" providerId="ADAL" clId="{398C985C-4939-4904-9544-A192F358B56A}" dt="2020-05-20T16:13:01.589" v="772" actId="2696"/>
          <pc:sldLayoutMkLst>
            <pc:docMk/>
            <pc:sldMasterMk cId="2573477763" sldId="2147483978"/>
            <pc:sldLayoutMk cId="816798728" sldId="2147483987"/>
          </pc:sldLayoutMkLst>
        </pc:sldLayoutChg>
        <pc:sldLayoutChg chg="del">
          <pc:chgData name="Devid Treuling" userId="59319ebe-00e0-4bed-b2ef-326bd7e50483" providerId="ADAL" clId="{398C985C-4939-4904-9544-A192F358B56A}" dt="2020-05-20T16:13:01.592" v="773" actId="2696"/>
          <pc:sldLayoutMkLst>
            <pc:docMk/>
            <pc:sldMasterMk cId="2573477763" sldId="2147483978"/>
            <pc:sldLayoutMk cId="96144985" sldId="2147483988"/>
          </pc:sldLayoutMkLst>
        </pc:sldLayoutChg>
        <pc:sldLayoutChg chg="del">
          <pc:chgData name="Devid Treuling" userId="59319ebe-00e0-4bed-b2ef-326bd7e50483" providerId="ADAL" clId="{398C985C-4939-4904-9544-A192F358B56A}" dt="2020-05-20T16:13:01.595" v="774" actId="2696"/>
          <pc:sldLayoutMkLst>
            <pc:docMk/>
            <pc:sldMasterMk cId="2573477763" sldId="2147483978"/>
            <pc:sldLayoutMk cId="631391370" sldId="2147483989"/>
          </pc:sldLayoutMkLst>
        </pc:sldLayoutChg>
      </pc:sldMasterChg>
    </pc:docChg>
  </pc:docChgLst>
  <pc:docChgLst>
    <pc:chgData name="Petri Puustinen" userId="afdc5376-b007-4d8e-9c19-07b3fbb81413" providerId="ADAL" clId="{9F5F6135-7EE0-48B8-BD73-6C51D9E80F51}"/>
    <pc:docChg chg="modSld">
      <pc:chgData name="Petri Puustinen" userId="afdc5376-b007-4d8e-9c19-07b3fbb81413" providerId="ADAL" clId="{9F5F6135-7EE0-48B8-BD73-6C51D9E80F51}" dt="2022-03-17T06:55:04.179" v="3" actId="20577"/>
      <pc:docMkLst>
        <pc:docMk/>
      </pc:docMkLst>
      <pc:sldChg chg="modSp mod">
        <pc:chgData name="Petri Puustinen" userId="afdc5376-b007-4d8e-9c19-07b3fbb81413" providerId="ADAL" clId="{9F5F6135-7EE0-48B8-BD73-6C51D9E80F51}" dt="2022-03-17T06:55:04.179" v="3" actId="20577"/>
        <pc:sldMkLst>
          <pc:docMk/>
          <pc:sldMk cId="4224234064" sldId="272"/>
        </pc:sldMkLst>
        <pc:graphicFrameChg chg="modGraphic">
          <ac:chgData name="Petri Puustinen" userId="afdc5376-b007-4d8e-9c19-07b3fbb81413" providerId="ADAL" clId="{9F5F6135-7EE0-48B8-BD73-6C51D9E80F51}" dt="2022-03-17T06:55:04.179" v="3" actId="20577"/>
          <ac:graphicFrameMkLst>
            <pc:docMk/>
            <pc:sldMk cId="4224234064" sldId="272"/>
            <ac:graphicFrameMk id="9" creationId="{287257CD-8C83-4EE2-B25A-DDAB288EC61E}"/>
          </ac:graphicFrameMkLst>
        </pc:graphicFrameChg>
      </pc:sldChg>
      <pc:sldChg chg="modSp mod">
        <pc:chgData name="Petri Puustinen" userId="afdc5376-b007-4d8e-9c19-07b3fbb81413" providerId="ADAL" clId="{9F5F6135-7EE0-48B8-BD73-6C51D9E80F51}" dt="2022-03-17T06:54:50.800" v="1" actId="20577"/>
        <pc:sldMkLst>
          <pc:docMk/>
          <pc:sldMk cId="4058156558" sldId="278"/>
        </pc:sldMkLst>
        <pc:graphicFrameChg chg="modGraphic">
          <ac:chgData name="Petri Puustinen" userId="afdc5376-b007-4d8e-9c19-07b3fbb81413" providerId="ADAL" clId="{9F5F6135-7EE0-48B8-BD73-6C51D9E80F51}" dt="2022-03-17T06:54:50.800" v="1" actId="20577"/>
          <ac:graphicFrameMkLst>
            <pc:docMk/>
            <pc:sldMk cId="4058156558" sldId="278"/>
            <ac:graphicFrameMk id="6" creationId="{EFA13486-B284-42F3-9A7E-A200182E6CD2}"/>
          </ac:graphicFrameMkLst>
        </pc:graphicFrameChg>
      </pc:sldChg>
    </pc:docChg>
  </pc:docChgLst>
  <pc:docChgLst>
    <pc:chgData name="Petri Puustinen" userId="afdc5376-b007-4d8e-9c19-07b3fbb81413" providerId="ADAL" clId="{B8C2D3CD-0795-4FAE-948D-AE7CA651BAD5}"/>
    <pc:docChg chg="undo custSel addSld delSld modSld sldOrd delSection modSection">
      <pc:chgData name="Petri Puustinen" userId="afdc5376-b007-4d8e-9c19-07b3fbb81413" providerId="ADAL" clId="{B8C2D3CD-0795-4FAE-948D-AE7CA651BAD5}" dt="2021-10-27T19:33:35.857" v="1832" actId="20577"/>
      <pc:docMkLst>
        <pc:docMk/>
      </pc:docMkLst>
      <pc:sldChg chg="del">
        <pc:chgData name="Petri Puustinen" userId="afdc5376-b007-4d8e-9c19-07b3fbb81413" providerId="ADAL" clId="{B8C2D3CD-0795-4FAE-948D-AE7CA651BAD5}" dt="2021-10-27T06:01:12.914" v="12" actId="47"/>
        <pc:sldMkLst>
          <pc:docMk/>
          <pc:sldMk cId="2181956486" sldId="256"/>
        </pc:sldMkLst>
      </pc:sldChg>
      <pc:sldChg chg="del">
        <pc:chgData name="Petri Puustinen" userId="afdc5376-b007-4d8e-9c19-07b3fbb81413" providerId="ADAL" clId="{B8C2D3CD-0795-4FAE-948D-AE7CA651BAD5}" dt="2021-10-27T06:01:18.975" v="13" actId="47"/>
        <pc:sldMkLst>
          <pc:docMk/>
          <pc:sldMk cId="3001679096" sldId="258"/>
        </pc:sldMkLst>
      </pc:sldChg>
      <pc:sldChg chg="del">
        <pc:chgData name="Petri Puustinen" userId="afdc5376-b007-4d8e-9c19-07b3fbb81413" providerId="ADAL" clId="{B8C2D3CD-0795-4FAE-948D-AE7CA651BAD5}" dt="2021-10-27T07:16:35.499" v="392" actId="47"/>
        <pc:sldMkLst>
          <pc:docMk/>
          <pc:sldMk cId="1635881331" sldId="259"/>
        </pc:sldMkLst>
      </pc:sldChg>
      <pc:sldChg chg="del">
        <pc:chgData name="Petri Puustinen" userId="afdc5376-b007-4d8e-9c19-07b3fbb81413" providerId="ADAL" clId="{B8C2D3CD-0795-4FAE-948D-AE7CA651BAD5}" dt="2021-10-27T07:16:58.072" v="395" actId="47"/>
        <pc:sldMkLst>
          <pc:docMk/>
          <pc:sldMk cId="914707366" sldId="261"/>
        </pc:sldMkLst>
      </pc:sldChg>
      <pc:sldChg chg="del">
        <pc:chgData name="Petri Puustinen" userId="afdc5376-b007-4d8e-9c19-07b3fbb81413" providerId="ADAL" clId="{B8C2D3CD-0795-4FAE-948D-AE7CA651BAD5}" dt="2021-10-27T06:17:09.129" v="248" actId="47"/>
        <pc:sldMkLst>
          <pc:docMk/>
          <pc:sldMk cId="1385431110" sldId="263"/>
        </pc:sldMkLst>
      </pc:sldChg>
      <pc:sldChg chg="del">
        <pc:chgData name="Petri Puustinen" userId="afdc5376-b007-4d8e-9c19-07b3fbb81413" providerId="ADAL" clId="{B8C2D3CD-0795-4FAE-948D-AE7CA651BAD5}" dt="2021-10-27T06:16:41.252" v="246" actId="47"/>
        <pc:sldMkLst>
          <pc:docMk/>
          <pc:sldMk cId="3596592614" sldId="267"/>
        </pc:sldMkLst>
      </pc:sldChg>
      <pc:sldChg chg="del">
        <pc:chgData name="Petri Puustinen" userId="afdc5376-b007-4d8e-9c19-07b3fbb81413" providerId="ADAL" clId="{B8C2D3CD-0795-4FAE-948D-AE7CA651BAD5}" dt="2021-10-27T06:02:08.966" v="17" actId="47"/>
        <pc:sldMkLst>
          <pc:docMk/>
          <pc:sldMk cId="937864164" sldId="270"/>
        </pc:sldMkLst>
      </pc:sldChg>
      <pc:sldChg chg="modSp mod ord">
        <pc:chgData name="Petri Puustinen" userId="afdc5376-b007-4d8e-9c19-07b3fbb81413" providerId="ADAL" clId="{B8C2D3CD-0795-4FAE-948D-AE7CA651BAD5}" dt="2021-10-27T07:20:11.996" v="406" actId="20577"/>
        <pc:sldMkLst>
          <pc:docMk/>
          <pc:sldMk cId="1563061469" sldId="271"/>
        </pc:sldMkLst>
        <pc:spChg chg="mod">
          <ac:chgData name="Petri Puustinen" userId="afdc5376-b007-4d8e-9c19-07b3fbb81413" providerId="ADAL" clId="{B8C2D3CD-0795-4FAE-948D-AE7CA651BAD5}" dt="2021-10-27T06:15:23.479" v="240" actId="20577"/>
          <ac:spMkLst>
            <pc:docMk/>
            <pc:sldMk cId="1563061469" sldId="271"/>
            <ac:spMk id="3" creationId="{00000000-0000-0000-0000-000000000000}"/>
          </ac:spMkLst>
        </pc:spChg>
        <pc:spChg chg="mod">
          <ac:chgData name="Petri Puustinen" userId="afdc5376-b007-4d8e-9c19-07b3fbb81413" providerId="ADAL" clId="{B8C2D3CD-0795-4FAE-948D-AE7CA651BAD5}" dt="2021-10-27T06:47:37.375" v="254" actId="20577"/>
          <ac:spMkLst>
            <pc:docMk/>
            <pc:sldMk cId="1563061469" sldId="271"/>
            <ac:spMk id="7" creationId="{8323F41A-E491-47F5-B325-2030EBB26C76}"/>
          </ac:spMkLst>
        </pc:spChg>
        <pc:graphicFrameChg chg="mod modGraphic">
          <ac:chgData name="Petri Puustinen" userId="afdc5376-b007-4d8e-9c19-07b3fbb81413" providerId="ADAL" clId="{B8C2D3CD-0795-4FAE-948D-AE7CA651BAD5}" dt="2021-10-27T07:20:11.996" v="406" actId="20577"/>
          <ac:graphicFrameMkLst>
            <pc:docMk/>
            <pc:sldMk cId="1563061469" sldId="271"/>
            <ac:graphicFrameMk id="9" creationId="{CE702611-002E-4410-A3DA-3E6E65A7D060}"/>
          </ac:graphicFrameMkLst>
        </pc:graphicFrameChg>
      </pc:sldChg>
      <pc:sldChg chg="addSp modSp mod ord">
        <pc:chgData name="Petri Puustinen" userId="afdc5376-b007-4d8e-9c19-07b3fbb81413" providerId="ADAL" clId="{B8C2D3CD-0795-4FAE-948D-AE7CA651BAD5}" dt="2021-10-27T14:04:29.437" v="621" actId="20577"/>
        <pc:sldMkLst>
          <pc:docMk/>
          <pc:sldMk cId="4224234064" sldId="272"/>
        </pc:sldMkLst>
        <pc:spChg chg="add">
          <ac:chgData name="Petri Puustinen" userId="afdc5376-b007-4d8e-9c19-07b3fbb81413" providerId="ADAL" clId="{B8C2D3CD-0795-4FAE-948D-AE7CA651BAD5}" dt="2021-10-27T14:04:07.349" v="612" actId="22"/>
          <ac:spMkLst>
            <pc:docMk/>
            <pc:sldMk cId="4224234064" sldId="272"/>
            <ac:spMk id="2" creationId="{1BD2D8FA-142B-43C8-908C-1CAD7A34C223}"/>
          </ac:spMkLst>
        </pc:spChg>
        <pc:spChg chg="mod">
          <ac:chgData name="Petri Puustinen" userId="afdc5376-b007-4d8e-9c19-07b3fbb81413" providerId="ADAL" clId="{B8C2D3CD-0795-4FAE-948D-AE7CA651BAD5}" dt="2021-10-27T06:15:33.229" v="245" actId="20577"/>
          <ac:spMkLst>
            <pc:docMk/>
            <pc:sldMk cId="4224234064" sldId="272"/>
            <ac:spMk id="3" creationId="{00000000-0000-0000-0000-000000000000}"/>
          </ac:spMkLst>
        </pc:spChg>
        <pc:graphicFrameChg chg="modGraphic">
          <ac:chgData name="Petri Puustinen" userId="afdc5376-b007-4d8e-9c19-07b3fbb81413" providerId="ADAL" clId="{B8C2D3CD-0795-4FAE-948D-AE7CA651BAD5}" dt="2021-10-27T14:04:29.437" v="621" actId="20577"/>
          <ac:graphicFrameMkLst>
            <pc:docMk/>
            <pc:sldMk cId="4224234064" sldId="272"/>
            <ac:graphicFrameMk id="9" creationId="{287257CD-8C83-4EE2-B25A-DDAB288EC61E}"/>
          </ac:graphicFrameMkLst>
        </pc:graphicFrameChg>
      </pc:sldChg>
      <pc:sldChg chg="del mod ord modShow">
        <pc:chgData name="Petri Puustinen" userId="afdc5376-b007-4d8e-9c19-07b3fbb81413" providerId="ADAL" clId="{B8C2D3CD-0795-4FAE-948D-AE7CA651BAD5}" dt="2021-10-27T14:07:23.445" v="622" actId="47"/>
        <pc:sldMkLst>
          <pc:docMk/>
          <pc:sldMk cId="3612134467" sldId="273"/>
        </pc:sldMkLst>
      </pc:sldChg>
      <pc:sldChg chg="del ord">
        <pc:chgData name="Petri Puustinen" userId="afdc5376-b007-4d8e-9c19-07b3fbb81413" providerId="ADAL" clId="{B8C2D3CD-0795-4FAE-948D-AE7CA651BAD5}" dt="2021-10-27T07:17:47.858" v="396" actId="47"/>
        <pc:sldMkLst>
          <pc:docMk/>
          <pc:sldMk cId="2043719360" sldId="274"/>
        </pc:sldMkLst>
      </pc:sldChg>
      <pc:sldChg chg="modSp mod ord">
        <pc:chgData name="Petri Puustinen" userId="afdc5376-b007-4d8e-9c19-07b3fbb81413" providerId="ADAL" clId="{B8C2D3CD-0795-4FAE-948D-AE7CA651BAD5}" dt="2021-10-27T06:48:53.158" v="259" actId="115"/>
        <pc:sldMkLst>
          <pc:docMk/>
          <pc:sldMk cId="2796827562" sldId="275"/>
        </pc:sldMkLst>
        <pc:spChg chg="mod">
          <ac:chgData name="Petri Puustinen" userId="afdc5376-b007-4d8e-9c19-07b3fbb81413" providerId="ADAL" clId="{B8C2D3CD-0795-4FAE-948D-AE7CA651BAD5}" dt="2021-10-27T06:48:53.158" v="259" actId="115"/>
          <ac:spMkLst>
            <pc:docMk/>
            <pc:sldMk cId="2796827562" sldId="275"/>
            <ac:spMk id="3" creationId="{00000000-0000-0000-0000-000000000000}"/>
          </ac:spMkLst>
        </pc:spChg>
      </pc:sldChg>
      <pc:sldChg chg="del">
        <pc:chgData name="Petri Puustinen" userId="afdc5376-b007-4d8e-9c19-07b3fbb81413" providerId="ADAL" clId="{B8C2D3CD-0795-4FAE-948D-AE7CA651BAD5}" dt="2021-10-27T06:16:46.140" v="247" actId="47"/>
        <pc:sldMkLst>
          <pc:docMk/>
          <pc:sldMk cId="1246998266" sldId="276"/>
        </pc:sldMkLst>
      </pc:sldChg>
      <pc:sldChg chg="del">
        <pc:chgData name="Petri Puustinen" userId="afdc5376-b007-4d8e-9c19-07b3fbb81413" providerId="ADAL" clId="{B8C2D3CD-0795-4FAE-948D-AE7CA651BAD5}" dt="2021-10-27T07:17:49.522" v="397" actId="47"/>
        <pc:sldMkLst>
          <pc:docMk/>
          <pc:sldMk cId="4035416206" sldId="277"/>
        </pc:sldMkLst>
      </pc:sldChg>
      <pc:sldChg chg="addSp delSp modSp mod">
        <pc:chgData name="Petri Puustinen" userId="afdc5376-b007-4d8e-9c19-07b3fbb81413" providerId="ADAL" clId="{B8C2D3CD-0795-4FAE-948D-AE7CA651BAD5}" dt="2021-10-27T14:04:00.072" v="611" actId="1076"/>
        <pc:sldMkLst>
          <pc:docMk/>
          <pc:sldMk cId="4058156558" sldId="278"/>
        </pc:sldMkLst>
        <pc:spChg chg="add del">
          <ac:chgData name="Petri Puustinen" userId="afdc5376-b007-4d8e-9c19-07b3fbb81413" providerId="ADAL" clId="{B8C2D3CD-0795-4FAE-948D-AE7CA651BAD5}" dt="2021-10-27T14:03:37.198" v="602" actId="478"/>
          <ac:spMkLst>
            <pc:docMk/>
            <pc:sldMk cId="4058156558" sldId="278"/>
            <ac:spMk id="4" creationId="{4A74D9FA-6765-4479-856F-4F154A7FF11F}"/>
          </ac:spMkLst>
        </pc:spChg>
        <pc:spChg chg="add mod">
          <ac:chgData name="Petri Puustinen" userId="afdc5376-b007-4d8e-9c19-07b3fbb81413" providerId="ADAL" clId="{B8C2D3CD-0795-4FAE-948D-AE7CA651BAD5}" dt="2021-10-27T14:04:00.072" v="611" actId="1076"/>
          <ac:spMkLst>
            <pc:docMk/>
            <pc:sldMk cId="4058156558" sldId="278"/>
            <ac:spMk id="8" creationId="{181B4D12-5201-4388-9C34-B3B9085BA003}"/>
          </ac:spMkLst>
        </pc:spChg>
        <pc:graphicFrameChg chg="modGraphic">
          <ac:chgData name="Petri Puustinen" userId="afdc5376-b007-4d8e-9c19-07b3fbb81413" providerId="ADAL" clId="{B8C2D3CD-0795-4FAE-948D-AE7CA651BAD5}" dt="2021-10-27T14:03:43.360" v="608" actId="20577"/>
          <ac:graphicFrameMkLst>
            <pc:docMk/>
            <pc:sldMk cId="4058156558" sldId="278"/>
            <ac:graphicFrameMk id="6" creationId="{EFA13486-B284-42F3-9A7E-A200182E6CD2}"/>
          </ac:graphicFrameMkLst>
        </pc:graphicFrameChg>
      </pc:sldChg>
      <pc:sldChg chg="del">
        <pc:chgData name="Petri Puustinen" userId="afdc5376-b007-4d8e-9c19-07b3fbb81413" providerId="ADAL" clId="{B8C2D3CD-0795-4FAE-948D-AE7CA651BAD5}" dt="2021-10-27T07:18:21.375" v="398" actId="47"/>
        <pc:sldMkLst>
          <pc:docMk/>
          <pc:sldMk cId="3566420220" sldId="279"/>
        </pc:sldMkLst>
      </pc:sldChg>
      <pc:sldChg chg="add del ord">
        <pc:chgData name="Petri Puustinen" userId="afdc5376-b007-4d8e-9c19-07b3fbb81413" providerId="ADAL" clId="{B8C2D3CD-0795-4FAE-948D-AE7CA651BAD5}" dt="2021-10-27T14:09:41.979" v="719" actId="47"/>
        <pc:sldMkLst>
          <pc:docMk/>
          <pc:sldMk cId="1400350796" sldId="281"/>
        </pc:sldMkLst>
      </pc:sldChg>
      <pc:sldChg chg="modSp mod">
        <pc:chgData name="Petri Puustinen" userId="afdc5376-b007-4d8e-9c19-07b3fbb81413" providerId="ADAL" clId="{B8C2D3CD-0795-4FAE-948D-AE7CA651BAD5}" dt="2021-10-27T13:33:01.578" v="479" actId="20577"/>
        <pc:sldMkLst>
          <pc:docMk/>
          <pc:sldMk cId="1532491458" sldId="282"/>
        </pc:sldMkLst>
        <pc:spChg chg="mod">
          <ac:chgData name="Petri Puustinen" userId="afdc5376-b007-4d8e-9c19-07b3fbb81413" providerId="ADAL" clId="{B8C2D3CD-0795-4FAE-948D-AE7CA651BAD5}" dt="2021-10-27T13:33:01.578" v="479" actId="20577"/>
          <ac:spMkLst>
            <pc:docMk/>
            <pc:sldMk cId="1532491458" sldId="282"/>
            <ac:spMk id="5" creationId="{27132E6D-A6EE-402B-895A-D0B053AB702A}"/>
          </ac:spMkLst>
        </pc:spChg>
      </pc:sldChg>
      <pc:sldChg chg="del">
        <pc:chgData name="Petri Puustinen" userId="afdc5376-b007-4d8e-9c19-07b3fbb81413" providerId="ADAL" clId="{B8C2D3CD-0795-4FAE-948D-AE7CA651BAD5}" dt="2021-10-27T13:33:12.705" v="484" actId="47"/>
        <pc:sldMkLst>
          <pc:docMk/>
          <pc:sldMk cId="3010267689" sldId="286"/>
        </pc:sldMkLst>
      </pc:sldChg>
      <pc:sldChg chg="ord">
        <pc:chgData name="Petri Puustinen" userId="afdc5376-b007-4d8e-9c19-07b3fbb81413" providerId="ADAL" clId="{B8C2D3CD-0795-4FAE-948D-AE7CA651BAD5}" dt="2021-10-27T14:09:12.333" v="713"/>
        <pc:sldMkLst>
          <pc:docMk/>
          <pc:sldMk cId="2337412998" sldId="287"/>
        </pc:sldMkLst>
      </pc:sldChg>
      <pc:sldChg chg="del">
        <pc:chgData name="Petri Puustinen" userId="afdc5376-b007-4d8e-9c19-07b3fbb81413" providerId="ADAL" clId="{B8C2D3CD-0795-4FAE-948D-AE7CA651BAD5}" dt="2021-10-27T06:01:34.780" v="14" actId="47"/>
        <pc:sldMkLst>
          <pc:docMk/>
          <pc:sldMk cId="4165013731" sldId="288"/>
        </pc:sldMkLst>
      </pc:sldChg>
      <pc:sldChg chg="del ord">
        <pc:chgData name="Petri Puustinen" userId="afdc5376-b007-4d8e-9c19-07b3fbb81413" providerId="ADAL" clId="{B8C2D3CD-0795-4FAE-948D-AE7CA651BAD5}" dt="2021-10-27T14:09:30.820" v="716" actId="47"/>
        <pc:sldMkLst>
          <pc:docMk/>
          <pc:sldMk cId="1503466284" sldId="2076136457"/>
        </pc:sldMkLst>
      </pc:sldChg>
      <pc:sldChg chg="del ord">
        <pc:chgData name="Petri Puustinen" userId="afdc5376-b007-4d8e-9c19-07b3fbb81413" providerId="ADAL" clId="{B8C2D3CD-0795-4FAE-948D-AE7CA651BAD5}" dt="2021-10-27T14:09:28.983" v="715" actId="47"/>
        <pc:sldMkLst>
          <pc:docMk/>
          <pc:sldMk cId="588289702" sldId="2076136458"/>
        </pc:sldMkLst>
      </pc:sldChg>
      <pc:sldChg chg="del ord">
        <pc:chgData name="Petri Puustinen" userId="afdc5376-b007-4d8e-9c19-07b3fbb81413" providerId="ADAL" clId="{B8C2D3CD-0795-4FAE-948D-AE7CA651BAD5}" dt="2021-10-27T14:09:27.266" v="714" actId="47"/>
        <pc:sldMkLst>
          <pc:docMk/>
          <pc:sldMk cId="461552823" sldId="2076136459"/>
        </pc:sldMkLst>
      </pc:sldChg>
      <pc:sldChg chg="del ord">
        <pc:chgData name="Petri Puustinen" userId="afdc5376-b007-4d8e-9c19-07b3fbb81413" providerId="ADAL" clId="{B8C2D3CD-0795-4FAE-948D-AE7CA651BAD5}" dt="2021-10-27T14:08:55.651" v="711" actId="47"/>
        <pc:sldMkLst>
          <pc:docMk/>
          <pc:sldMk cId="3299919368" sldId="2076136463"/>
        </pc:sldMkLst>
      </pc:sldChg>
      <pc:sldChg chg="del">
        <pc:chgData name="Petri Puustinen" userId="afdc5376-b007-4d8e-9c19-07b3fbb81413" providerId="ADAL" clId="{B8C2D3CD-0795-4FAE-948D-AE7CA651BAD5}" dt="2021-10-27T14:08:38.189" v="708" actId="47"/>
        <pc:sldMkLst>
          <pc:docMk/>
          <pc:sldMk cId="2127713778" sldId="2076136464"/>
        </pc:sldMkLst>
      </pc:sldChg>
      <pc:sldChg chg="add del ord">
        <pc:chgData name="Petri Puustinen" userId="afdc5376-b007-4d8e-9c19-07b3fbb81413" providerId="ADAL" clId="{B8C2D3CD-0795-4FAE-948D-AE7CA651BAD5}" dt="2021-10-27T14:09:40.994" v="718" actId="47"/>
        <pc:sldMkLst>
          <pc:docMk/>
          <pc:sldMk cId="2566045911" sldId="2076136465"/>
        </pc:sldMkLst>
      </pc:sldChg>
      <pc:sldChg chg="modSp add del mod">
        <pc:chgData name="Petri Puustinen" userId="afdc5376-b007-4d8e-9c19-07b3fbb81413" providerId="ADAL" clId="{B8C2D3CD-0795-4FAE-948D-AE7CA651BAD5}" dt="2021-10-27T19:33:35.857" v="1832" actId="20577"/>
        <pc:sldMkLst>
          <pc:docMk/>
          <pc:sldMk cId="1072057065" sldId="2076137618"/>
        </pc:sldMkLst>
        <pc:spChg chg="mod">
          <ac:chgData name="Petri Puustinen" userId="afdc5376-b007-4d8e-9c19-07b3fbb81413" providerId="ADAL" clId="{B8C2D3CD-0795-4FAE-948D-AE7CA651BAD5}" dt="2021-10-27T19:33:35.857" v="1832" actId="20577"/>
          <ac:spMkLst>
            <pc:docMk/>
            <pc:sldMk cId="1072057065" sldId="2076137618"/>
            <ac:spMk id="26" creationId="{F5DA9B90-3150-4081-97B3-AB4410A435E7}"/>
          </ac:spMkLst>
        </pc:spChg>
      </pc:sldChg>
      <pc:sldChg chg="add del">
        <pc:chgData name="Petri Puustinen" userId="afdc5376-b007-4d8e-9c19-07b3fbb81413" providerId="ADAL" clId="{B8C2D3CD-0795-4FAE-948D-AE7CA651BAD5}" dt="2021-10-27T14:08:30.551" v="707" actId="47"/>
        <pc:sldMkLst>
          <pc:docMk/>
          <pc:sldMk cId="2850404227" sldId="2076137619"/>
        </pc:sldMkLst>
      </pc:sldChg>
      <pc:sldChg chg="addSp delSp modSp add mod ord">
        <pc:chgData name="Petri Puustinen" userId="afdc5376-b007-4d8e-9c19-07b3fbb81413" providerId="ADAL" clId="{B8C2D3CD-0795-4FAE-948D-AE7CA651BAD5}" dt="2021-10-27T14:00:06.472" v="597" actId="403"/>
        <pc:sldMkLst>
          <pc:docMk/>
          <pc:sldMk cId="521732247" sldId="2076137620"/>
        </pc:sldMkLst>
        <pc:spChg chg="add mod">
          <ac:chgData name="Petri Puustinen" userId="afdc5376-b007-4d8e-9c19-07b3fbb81413" providerId="ADAL" clId="{B8C2D3CD-0795-4FAE-948D-AE7CA651BAD5}" dt="2021-10-27T14:00:06.472" v="597" actId="403"/>
          <ac:spMkLst>
            <pc:docMk/>
            <pc:sldMk cId="521732247" sldId="2076137620"/>
            <ac:spMk id="2" creationId="{81CEDC1C-37CF-4D83-8B5C-6784EC04BFA9}"/>
          </ac:spMkLst>
        </pc:spChg>
        <pc:spChg chg="mod">
          <ac:chgData name="Petri Puustinen" userId="afdc5376-b007-4d8e-9c19-07b3fbb81413" providerId="ADAL" clId="{B8C2D3CD-0795-4FAE-948D-AE7CA651BAD5}" dt="2021-10-27T07:05:11.872" v="275" actId="20577"/>
          <ac:spMkLst>
            <pc:docMk/>
            <pc:sldMk cId="521732247" sldId="2076137620"/>
            <ac:spMk id="3" creationId="{00000000-0000-0000-0000-000000000000}"/>
          </ac:spMkLst>
        </pc:spChg>
        <pc:spChg chg="del mod">
          <ac:chgData name="Petri Puustinen" userId="afdc5376-b007-4d8e-9c19-07b3fbb81413" providerId="ADAL" clId="{B8C2D3CD-0795-4FAE-948D-AE7CA651BAD5}" dt="2021-10-27T13:35:45.933" v="560" actId="478"/>
          <ac:spMkLst>
            <pc:docMk/>
            <pc:sldMk cId="521732247" sldId="2076137620"/>
            <ac:spMk id="7" creationId="{8323F41A-E491-47F5-B325-2030EBB26C76}"/>
          </ac:spMkLst>
        </pc:spChg>
        <pc:graphicFrameChg chg="mod modGraphic">
          <ac:chgData name="Petri Puustinen" userId="afdc5376-b007-4d8e-9c19-07b3fbb81413" providerId="ADAL" clId="{B8C2D3CD-0795-4FAE-948D-AE7CA651BAD5}" dt="2021-10-27T13:59:54.974" v="593" actId="20577"/>
          <ac:graphicFrameMkLst>
            <pc:docMk/>
            <pc:sldMk cId="521732247" sldId="2076137620"/>
            <ac:graphicFrameMk id="9" creationId="{CE702611-002E-4410-A3DA-3E6E65A7D060}"/>
          </ac:graphicFrameMkLst>
        </pc:graphicFrameChg>
      </pc:sldChg>
      <pc:sldChg chg="modSp add mod">
        <pc:chgData name="Petri Puustinen" userId="afdc5376-b007-4d8e-9c19-07b3fbb81413" providerId="ADAL" clId="{B8C2D3CD-0795-4FAE-948D-AE7CA651BAD5}" dt="2021-10-27T19:33:14.459" v="1802" actId="20577"/>
        <pc:sldMkLst>
          <pc:docMk/>
          <pc:sldMk cId="2181463806" sldId="2076137621"/>
        </pc:sldMkLst>
        <pc:spChg chg="mod">
          <ac:chgData name="Petri Puustinen" userId="afdc5376-b007-4d8e-9c19-07b3fbb81413" providerId="ADAL" clId="{B8C2D3CD-0795-4FAE-948D-AE7CA651BAD5}" dt="2021-10-27T19:33:14.459" v="1802" actId="20577"/>
          <ac:spMkLst>
            <pc:docMk/>
            <pc:sldMk cId="2181463806" sldId="2076137621"/>
            <ac:spMk id="5" creationId="{27132E6D-A6EE-402B-895A-D0B053AB702A}"/>
          </ac:spMkLst>
        </pc:spChg>
      </pc:sldChg>
      <pc:sldChg chg="delSp modSp add del mod ord">
        <pc:chgData name="Petri Puustinen" userId="afdc5376-b007-4d8e-9c19-07b3fbb81413" providerId="ADAL" clId="{B8C2D3CD-0795-4FAE-948D-AE7CA651BAD5}" dt="2021-10-27T18:38:34.387" v="1444" actId="47"/>
        <pc:sldMkLst>
          <pc:docMk/>
          <pc:sldMk cId="109856045" sldId="2076137622"/>
        </pc:sldMkLst>
        <pc:spChg chg="mod">
          <ac:chgData name="Petri Puustinen" userId="afdc5376-b007-4d8e-9c19-07b3fbb81413" providerId="ADAL" clId="{B8C2D3CD-0795-4FAE-948D-AE7CA651BAD5}" dt="2021-10-27T17:58:09.791" v="1329" actId="20577"/>
          <ac:spMkLst>
            <pc:docMk/>
            <pc:sldMk cId="109856045" sldId="2076137622"/>
            <ac:spMk id="3" creationId="{00000000-0000-0000-0000-000000000000}"/>
          </ac:spMkLst>
        </pc:spChg>
        <pc:spChg chg="del">
          <ac:chgData name="Petri Puustinen" userId="afdc5376-b007-4d8e-9c19-07b3fbb81413" providerId="ADAL" clId="{B8C2D3CD-0795-4FAE-948D-AE7CA651BAD5}" dt="2021-10-27T17:47:04.756" v="753" actId="478"/>
          <ac:spMkLst>
            <pc:docMk/>
            <pc:sldMk cId="109856045" sldId="2076137622"/>
            <ac:spMk id="9" creationId="{E805C7CF-0C66-4361-A3AC-61FE9C67A1B7}"/>
          </ac:spMkLst>
        </pc:spChg>
        <pc:spChg chg="mod">
          <ac:chgData name="Petri Puustinen" userId="afdc5376-b007-4d8e-9c19-07b3fbb81413" providerId="ADAL" clId="{B8C2D3CD-0795-4FAE-948D-AE7CA651BAD5}" dt="2021-10-27T18:35:53.631" v="1371"/>
          <ac:spMkLst>
            <pc:docMk/>
            <pc:sldMk cId="109856045" sldId="2076137622"/>
            <ac:spMk id="11" creationId="{7AA82A7F-9254-4FEF-9D6C-B2A1CDFD8448}"/>
          </ac:spMkLst>
        </pc:spChg>
        <pc:spChg chg="del">
          <ac:chgData name="Petri Puustinen" userId="afdc5376-b007-4d8e-9c19-07b3fbb81413" providerId="ADAL" clId="{B8C2D3CD-0795-4FAE-948D-AE7CA651BAD5}" dt="2021-10-27T17:46:49.158" v="752" actId="478"/>
          <ac:spMkLst>
            <pc:docMk/>
            <pc:sldMk cId="109856045" sldId="2076137622"/>
            <ac:spMk id="13" creationId="{2E4FC0B0-0AE1-40E4-A7DD-1DCED6737349}"/>
          </ac:spMkLst>
        </pc:spChg>
        <pc:graphicFrameChg chg="del modGraphic">
          <ac:chgData name="Petri Puustinen" userId="afdc5376-b007-4d8e-9c19-07b3fbb81413" providerId="ADAL" clId="{B8C2D3CD-0795-4FAE-948D-AE7CA651BAD5}" dt="2021-10-27T17:45:50.113" v="747" actId="478"/>
          <ac:graphicFrameMkLst>
            <pc:docMk/>
            <pc:sldMk cId="109856045" sldId="2076137622"/>
            <ac:graphicFrameMk id="6" creationId="{2776579C-A565-4BE4-AF06-A3A89D4186A4}"/>
          </ac:graphicFrameMkLst>
        </pc:graphicFrameChg>
      </pc:sldChg>
      <pc:sldChg chg="modSp add mod">
        <pc:chgData name="Petri Puustinen" userId="afdc5376-b007-4d8e-9c19-07b3fbb81413" providerId="ADAL" clId="{B8C2D3CD-0795-4FAE-948D-AE7CA651BAD5}" dt="2021-10-27T19:32:20.105" v="1779" actId="113"/>
        <pc:sldMkLst>
          <pc:docMk/>
          <pc:sldMk cId="2007672948" sldId="2076137623"/>
        </pc:sldMkLst>
        <pc:spChg chg="mod">
          <ac:chgData name="Petri Puustinen" userId="afdc5376-b007-4d8e-9c19-07b3fbb81413" providerId="ADAL" clId="{B8C2D3CD-0795-4FAE-948D-AE7CA651BAD5}" dt="2021-10-27T18:36:16.141" v="1375" actId="20577"/>
          <ac:spMkLst>
            <pc:docMk/>
            <pc:sldMk cId="2007672948" sldId="2076137623"/>
            <ac:spMk id="3" creationId="{00000000-0000-0000-0000-000000000000}"/>
          </ac:spMkLst>
        </pc:spChg>
        <pc:spChg chg="mod">
          <ac:chgData name="Petri Puustinen" userId="afdc5376-b007-4d8e-9c19-07b3fbb81413" providerId="ADAL" clId="{B8C2D3CD-0795-4FAE-948D-AE7CA651BAD5}" dt="2021-10-27T19:32:20.105" v="1779" actId="113"/>
          <ac:spMkLst>
            <pc:docMk/>
            <pc:sldMk cId="2007672948" sldId="2076137623"/>
            <ac:spMk id="11" creationId="{7AA82A7F-9254-4FEF-9D6C-B2A1CDFD8448}"/>
          </ac:spMkLst>
        </pc:spChg>
      </pc:sldChg>
      <pc:sldChg chg="addSp delSp modSp add mod">
        <pc:chgData name="Petri Puustinen" userId="afdc5376-b007-4d8e-9c19-07b3fbb81413" providerId="ADAL" clId="{B8C2D3CD-0795-4FAE-948D-AE7CA651BAD5}" dt="2021-10-27T19:31:08.037" v="1778" actId="20577"/>
        <pc:sldMkLst>
          <pc:docMk/>
          <pc:sldMk cId="540719585" sldId="2076137624"/>
        </pc:sldMkLst>
        <pc:spChg chg="mod">
          <ac:chgData name="Petri Puustinen" userId="afdc5376-b007-4d8e-9c19-07b3fbb81413" providerId="ADAL" clId="{B8C2D3CD-0795-4FAE-948D-AE7CA651BAD5}" dt="2021-10-27T17:52:31.322" v="901" actId="20577"/>
          <ac:spMkLst>
            <pc:docMk/>
            <pc:sldMk cId="540719585" sldId="2076137624"/>
            <ac:spMk id="3" creationId="{00000000-0000-0000-0000-000000000000}"/>
          </ac:spMkLst>
        </pc:spChg>
        <pc:spChg chg="mod">
          <ac:chgData name="Petri Puustinen" userId="afdc5376-b007-4d8e-9c19-07b3fbb81413" providerId="ADAL" clId="{B8C2D3CD-0795-4FAE-948D-AE7CA651BAD5}" dt="2021-10-27T19:31:08.037" v="1778" actId="20577"/>
          <ac:spMkLst>
            <pc:docMk/>
            <pc:sldMk cId="540719585" sldId="2076137624"/>
            <ac:spMk id="11" creationId="{7AA82A7F-9254-4FEF-9D6C-B2A1CDFD8448}"/>
          </ac:spMkLst>
        </pc:spChg>
        <pc:picChg chg="add mod">
          <ac:chgData name="Petri Puustinen" userId="afdc5376-b007-4d8e-9c19-07b3fbb81413" providerId="ADAL" clId="{B8C2D3CD-0795-4FAE-948D-AE7CA651BAD5}" dt="2021-10-27T19:30:41.027" v="1712" actId="1076"/>
          <ac:picMkLst>
            <pc:docMk/>
            <pc:sldMk cId="540719585" sldId="2076137624"/>
            <ac:picMk id="4" creationId="{C3AFC7C0-9956-42C5-93ED-010BFC99D57E}"/>
          </ac:picMkLst>
        </pc:picChg>
        <pc:picChg chg="add del mod">
          <ac:chgData name="Petri Puustinen" userId="afdc5376-b007-4d8e-9c19-07b3fbb81413" providerId="ADAL" clId="{B8C2D3CD-0795-4FAE-948D-AE7CA651BAD5}" dt="2021-10-27T19:30:22.580" v="1702" actId="478"/>
          <ac:picMkLst>
            <pc:docMk/>
            <pc:sldMk cId="540719585" sldId="2076137624"/>
            <ac:picMk id="6" creationId="{8E0325FB-94C4-41A3-BD6C-CC61597260FF}"/>
          </ac:picMkLst>
        </pc:picChg>
        <pc:picChg chg="add mod">
          <ac:chgData name="Petri Puustinen" userId="afdc5376-b007-4d8e-9c19-07b3fbb81413" providerId="ADAL" clId="{B8C2D3CD-0795-4FAE-948D-AE7CA651BAD5}" dt="2021-10-27T19:30:39.338" v="1711" actId="1076"/>
          <ac:picMkLst>
            <pc:docMk/>
            <pc:sldMk cId="540719585" sldId="2076137624"/>
            <ac:picMk id="8" creationId="{ABD90333-2881-4AAD-B26D-E09CBB85862E}"/>
          </ac:picMkLst>
        </pc:picChg>
      </pc:sldChg>
      <pc:sldChg chg="add del">
        <pc:chgData name="Petri Puustinen" userId="afdc5376-b007-4d8e-9c19-07b3fbb81413" providerId="ADAL" clId="{B8C2D3CD-0795-4FAE-948D-AE7CA651BAD5}" dt="2021-10-27T18:38:33.128" v="1443" actId="47"/>
        <pc:sldMkLst>
          <pc:docMk/>
          <pc:sldMk cId="2152114688" sldId="2076137625"/>
        </pc:sldMkLst>
      </pc:sldChg>
      <pc:sldMasterChg chg="addSldLayout delSldLayout modSldLayout">
        <pc:chgData name="Petri Puustinen" userId="afdc5376-b007-4d8e-9c19-07b3fbb81413" providerId="ADAL" clId="{B8C2D3CD-0795-4FAE-948D-AE7CA651BAD5}" dt="2021-10-27T07:04:57.194" v="262" actId="22"/>
        <pc:sldMasterMkLst>
          <pc:docMk/>
          <pc:sldMasterMk cId="3138866671" sldId="2147483990"/>
        </pc:sldMasterMkLst>
        <pc:sldLayoutChg chg="add del mod">
          <pc:chgData name="Petri Puustinen" userId="afdc5376-b007-4d8e-9c19-07b3fbb81413" providerId="ADAL" clId="{B8C2D3CD-0795-4FAE-948D-AE7CA651BAD5}" dt="2021-10-27T06:00:48.126" v="1" actId="22"/>
          <pc:sldLayoutMkLst>
            <pc:docMk/>
            <pc:sldMasterMk cId="3138866671" sldId="2147483990"/>
            <pc:sldLayoutMk cId="3829851567" sldId="2147484035"/>
          </pc:sldLayoutMkLst>
        </pc:sldLayoutChg>
        <pc:sldLayoutChg chg="add mod replId">
          <pc:chgData name="Petri Puustinen" userId="afdc5376-b007-4d8e-9c19-07b3fbb81413" providerId="ADAL" clId="{B8C2D3CD-0795-4FAE-948D-AE7CA651BAD5}" dt="2021-10-27T07:04:57.194" v="262" actId="22"/>
          <pc:sldLayoutMkLst>
            <pc:docMk/>
            <pc:sldMasterMk cId="3138866671" sldId="2147483990"/>
            <pc:sldLayoutMk cId="2373091209" sldId="2147484083"/>
          </pc:sldLayoutMkLst>
        </pc:sldLayoutChg>
      </pc:sldMasterChg>
    </pc:docChg>
  </pc:docChgLst>
  <pc:docChgLst>
    <pc:chgData name="Devid Treuling" userId="59319ebe-00e0-4bed-b2ef-326bd7e50483" providerId="ADAL" clId="{BD9B40A7-68D7-46EB-BCC5-757646F2802A}"/>
    <pc:docChg chg="custSel addSld delSld modSld delMainMaster modMainMaster">
      <pc:chgData name="Devid Treuling" userId="59319ebe-00e0-4bed-b2ef-326bd7e50483" providerId="ADAL" clId="{BD9B40A7-68D7-46EB-BCC5-757646F2802A}" dt="2020-03-30T15:46:31.081" v="178" actId="2696"/>
      <pc:docMkLst>
        <pc:docMk/>
      </pc:docMkLst>
      <pc:sldChg chg="modSp modTransition">
        <pc:chgData name="Devid Treuling" userId="59319ebe-00e0-4bed-b2ef-326bd7e50483" providerId="ADAL" clId="{BD9B40A7-68D7-46EB-BCC5-757646F2802A}" dt="2020-03-30T15:46:30.955" v="95"/>
        <pc:sldMkLst>
          <pc:docMk/>
          <pc:sldMk cId="2181956486" sldId="256"/>
        </pc:sldMkLst>
        <pc:spChg chg="mod">
          <ac:chgData name="Devid Treuling" userId="59319ebe-00e0-4bed-b2ef-326bd7e50483" providerId="ADAL" clId="{BD9B40A7-68D7-46EB-BCC5-757646F2802A}" dt="2020-03-30T15:46:30.449" v="2"/>
          <ac:spMkLst>
            <pc:docMk/>
            <pc:sldMk cId="2181956486" sldId="256"/>
            <ac:spMk id="4" creationId="{00000000-0000-0000-0000-000000000000}"/>
          </ac:spMkLst>
        </pc:spChg>
        <pc:spChg chg="mod">
          <ac:chgData name="Devid Treuling" userId="59319ebe-00e0-4bed-b2ef-326bd7e50483" providerId="ADAL" clId="{BD9B40A7-68D7-46EB-BCC5-757646F2802A}" dt="2020-03-30T15:46:30.449" v="2"/>
          <ac:spMkLst>
            <pc:docMk/>
            <pc:sldMk cId="2181956486" sldId="256"/>
            <ac:spMk id="6" creationId="{12808BD5-6BEE-4164-9264-E55A823F2E3D}"/>
          </ac:spMkLst>
        </pc:spChg>
        <pc:picChg chg="mod">
          <ac:chgData name="Devid Treuling" userId="59319ebe-00e0-4bed-b2ef-326bd7e50483" providerId="ADAL" clId="{BD9B40A7-68D7-46EB-BCC5-757646F2802A}" dt="2020-03-30T15:46:30.449" v="2"/>
          <ac:picMkLst>
            <pc:docMk/>
            <pc:sldMk cId="2181956486" sldId="256"/>
            <ac:picMk id="8" creationId="{DEBB7B6C-5800-4217-A7DA-4983C5C30F7A}"/>
          </ac:picMkLst>
        </pc:picChg>
      </pc:sldChg>
      <pc:sldChg chg="modTransition">
        <pc:chgData name="Devid Treuling" userId="59319ebe-00e0-4bed-b2ef-326bd7e50483" providerId="ADAL" clId="{BD9B40A7-68D7-46EB-BCC5-757646F2802A}" dt="2020-03-30T15:46:30.958" v="100"/>
        <pc:sldMkLst>
          <pc:docMk/>
          <pc:sldMk cId="2242852715" sldId="257"/>
        </pc:sldMkLst>
      </pc:sldChg>
      <pc:sldChg chg="modSp modTransition">
        <pc:chgData name="Devid Treuling" userId="59319ebe-00e0-4bed-b2ef-326bd7e50483" providerId="ADAL" clId="{BD9B40A7-68D7-46EB-BCC5-757646F2802A}" dt="2020-03-30T15:46:30.961" v="105"/>
        <pc:sldMkLst>
          <pc:docMk/>
          <pc:sldMk cId="3001679096" sldId="258"/>
        </pc:sldMkLst>
        <pc:spChg chg="mod">
          <ac:chgData name="Devid Treuling" userId="59319ebe-00e0-4bed-b2ef-326bd7e50483" providerId="ADAL" clId="{BD9B40A7-68D7-46EB-BCC5-757646F2802A}" dt="2020-03-30T15:46:30.449" v="2"/>
          <ac:spMkLst>
            <pc:docMk/>
            <pc:sldMk cId="3001679096" sldId="258"/>
            <ac:spMk id="2" creationId="{0D571322-9F37-477D-9B5B-EBF49D8B1DE4}"/>
          </ac:spMkLst>
        </pc:spChg>
        <pc:spChg chg="mod">
          <ac:chgData name="Devid Treuling" userId="59319ebe-00e0-4bed-b2ef-326bd7e50483" providerId="ADAL" clId="{BD9B40A7-68D7-46EB-BCC5-757646F2802A}" dt="2020-03-30T15:46:30.449" v="2"/>
          <ac:spMkLst>
            <pc:docMk/>
            <pc:sldMk cId="3001679096" sldId="258"/>
            <ac:spMk id="3" creationId="{355F4707-2382-4D2B-8385-1E54F39F514C}"/>
          </ac:spMkLst>
        </pc:spChg>
      </pc:sldChg>
      <pc:sldChg chg="modSp modTransition">
        <pc:chgData name="Devid Treuling" userId="59319ebe-00e0-4bed-b2ef-326bd7e50483" providerId="ADAL" clId="{BD9B40A7-68D7-46EB-BCC5-757646F2802A}" dt="2020-03-30T15:46:30.964" v="110"/>
        <pc:sldMkLst>
          <pc:docMk/>
          <pc:sldMk cId="1635881331" sldId="259"/>
        </pc:sldMkLst>
        <pc:spChg chg="mod">
          <ac:chgData name="Devid Treuling" userId="59319ebe-00e0-4bed-b2ef-326bd7e50483" providerId="ADAL" clId="{BD9B40A7-68D7-46EB-BCC5-757646F2802A}" dt="2020-03-30T15:46:30.449" v="2"/>
          <ac:spMkLst>
            <pc:docMk/>
            <pc:sldMk cId="1635881331" sldId="259"/>
            <ac:spMk id="5" creationId="{27132E6D-A6EE-402B-895A-D0B053AB702A}"/>
          </ac:spMkLst>
        </pc:spChg>
      </pc:sldChg>
      <pc:sldChg chg="modSp modTransition">
        <pc:chgData name="Devid Treuling" userId="59319ebe-00e0-4bed-b2ef-326bd7e50483" providerId="ADAL" clId="{BD9B40A7-68D7-46EB-BCC5-757646F2802A}" dt="2020-03-30T15:46:30.967" v="115"/>
        <pc:sldMkLst>
          <pc:docMk/>
          <pc:sldMk cId="1732864890" sldId="260"/>
        </pc:sldMkLst>
        <pc:spChg chg="mod">
          <ac:chgData name="Devid Treuling" userId="59319ebe-00e0-4bed-b2ef-326bd7e50483" providerId="ADAL" clId="{BD9B40A7-68D7-46EB-BCC5-757646F2802A}" dt="2020-03-30T15:46:30.449" v="2"/>
          <ac:spMkLst>
            <pc:docMk/>
            <pc:sldMk cId="1732864890" sldId="260"/>
            <ac:spMk id="4" creationId="{3BDD850C-29B9-4641-B580-0B91B9EBAE00}"/>
          </ac:spMkLst>
        </pc:spChg>
        <pc:spChg chg="mod">
          <ac:chgData name="Devid Treuling" userId="59319ebe-00e0-4bed-b2ef-326bd7e50483" providerId="ADAL" clId="{BD9B40A7-68D7-46EB-BCC5-757646F2802A}" dt="2020-03-30T15:46:30.449" v="2"/>
          <ac:spMkLst>
            <pc:docMk/>
            <pc:sldMk cId="1732864890" sldId="260"/>
            <ac:spMk id="5" creationId="{55182462-DFDF-4D48-A92C-42FD52821C4E}"/>
          </ac:spMkLst>
        </pc:spChg>
        <pc:spChg chg="mod">
          <ac:chgData name="Devid Treuling" userId="59319ebe-00e0-4bed-b2ef-326bd7e50483" providerId="ADAL" clId="{BD9B40A7-68D7-46EB-BCC5-757646F2802A}" dt="2020-03-30T15:46:30.449" v="2"/>
          <ac:spMkLst>
            <pc:docMk/>
            <pc:sldMk cId="1732864890" sldId="260"/>
            <ac:spMk id="7" creationId="{D26C7312-6643-4F44-86B4-FA64F536177B}"/>
          </ac:spMkLst>
        </pc:spChg>
      </pc:sldChg>
      <pc:sldChg chg="modSp modTransition">
        <pc:chgData name="Devid Treuling" userId="59319ebe-00e0-4bed-b2ef-326bd7e50483" providerId="ADAL" clId="{BD9B40A7-68D7-46EB-BCC5-757646F2802A}" dt="2020-03-30T15:46:30.969" v="120"/>
        <pc:sldMkLst>
          <pc:docMk/>
          <pc:sldMk cId="914707366" sldId="261"/>
        </pc:sldMkLst>
        <pc:spChg chg="mod">
          <ac:chgData name="Devid Treuling" userId="59319ebe-00e0-4bed-b2ef-326bd7e50483" providerId="ADAL" clId="{BD9B40A7-68D7-46EB-BCC5-757646F2802A}" dt="2020-03-30T15:46:30.449" v="2"/>
          <ac:spMkLst>
            <pc:docMk/>
            <pc:sldMk cId="914707366" sldId="261"/>
            <ac:spMk id="2" creationId="{00000000-0000-0000-0000-000000000000}"/>
          </ac:spMkLst>
        </pc:spChg>
        <pc:spChg chg="mod">
          <ac:chgData name="Devid Treuling" userId="59319ebe-00e0-4bed-b2ef-326bd7e50483" providerId="ADAL" clId="{BD9B40A7-68D7-46EB-BCC5-757646F2802A}" dt="2020-03-30T15:46:30.449" v="2"/>
          <ac:spMkLst>
            <pc:docMk/>
            <pc:sldMk cId="914707366" sldId="261"/>
            <ac:spMk id="3" creationId="{00000000-0000-0000-0000-000000000000}"/>
          </ac:spMkLst>
        </pc:spChg>
        <pc:spChg chg="mod">
          <ac:chgData name="Devid Treuling" userId="59319ebe-00e0-4bed-b2ef-326bd7e50483" providerId="ADAL" clId="{BD9B40A7-68D7-46EB-BCC5-757646F2802A}" dt="2020-03-30T15:46:30.449" v="2"/>
          <ac:spMkLst>
            <pc:docMk/>
            <pc:sldMk cId="914707366" sldId="261"/>
            <ac:spMk id="12" creationId="{C4226080-F4D3-473F-8324-DFB4ADA600CB}"/>
          </ac:spMkLst>
        </pc:spChg>
      </pc:sldChg>
      <pc:sldChg chg="modSp modTransition">
        <pc:chgData name="Devid Treuling" userId="59319ebe-00e0-4bed-b2ef-326bd7e50483" providerId="ADAL" clId="{BD9B40A7-68D7-46EB-BCC5-757646F2802A}" dt="2020-03-30T15:46:30.972" v="125"/>
        <pc:sldMkLst>
          <pc:docMk/>
          <pc:sldMk cId="2379444036" sldId="262"/>
        </pc:sldMkLst>
        <pc:spChg chg="mod">
          <ac:chgData name="Devid Treuling" userId="59319ebe-00e0-4bed-b2ef-326bd7e50483" providerId="ADAL" clId="{BD9B40A7-68D7-46EB-BCC5-757646F2802A}" dt="2020-03-30T15:46:30.449" v="2"/>
          <ac:spMkLst>
            <pc:docMk/>
            <pc:sldMk cId="2379444036" sldId="262"/>
            <ac:spMk id="4" creationId="{9CBC6F63-616D-478D-A91D-8B071350BF64}"/>
          </ac:spMkLst>
        </pc:spChg>
      </pc:sldChg>
      <pc:sldChg chg="modSp modTransition">
        <pc:chgData name="Devid Treuling" userId="59319ebe-00e0-4bed-b2ef-326bd7e50483" providerId="ADAL" clId="{BD9B40A7-68D7-46EB-BCC5-757646F2802A}" dt="2020-03-30T15:46:30.977" v="130"/>
        <pc:sldMkLst>
          <pc:docMk/>
          <pc:sldMk cId="1385431110" sldId="263"/>
        </pc:sldMkLst>
        <pc:spChg chg="mod">
          <ac:chgData name="Devid Treuling" userId="59319ebe-00e0-4bed-b2ef-326bd7e50483" providerId="ADAL" clId="{BD9B40A7-68D7-46EB-BCC5-757646F2802A}" dt="2020-03-30T15:46:30.449" v="2"/>
          <ac:spMkLst>
            <pc:docMk/>
            <pc:sldMk cId="1385431110" sldId="263"/>
            <ac:spMk id="2" creationId="{E0DCCC6D-05C4-4092-8C9D-AA0D46C1A281}"/>
          </ac:spMkLst>
        </pc:spChg>
        <pc:spChg chg="mod">
          <ac:chgData name="Devid Treuling" userId="59319ebe-00e0-4bed-b2ef-326bd7e50483" providerId="ADAL" clId="{BD9B40A7-68D7-46EB-BCC5-757646F2802A}" dt="2020-03-30T15:46:30.449" v="2"/>
          <ac:spMkLst>
            <pc:docMk/>
            <pc:sldMk cId="1385431110" sldId="263"/>
            <ac:spMk id="3" creationId="{00000000-0000-0000-0000-000000000000}"/>
          </ac:spMkLst>
        </pc:spChg>
      </pc:sldChg>
      <pc:sldChg chg="modSp modTransition">
        <pc:chgData name="Devid Treuling" userId="59319ebe-00e0-4bed-b2ef-326bd7e50483" providerId="ADAL" clId="{BD9B40A7-68D7-46EB-BCC5-757646F2802A}" dt="2020-03-30T15:46:30.981" v="135"/>
        <pc:sldMkLst>
          <pc:docMk/>
          <pc:sldMk cId="3996308554" sldId="264"/>
        </pc:sldMkLst>
        <pc:spChg chg="mod">
          <ac:chgData name="Devid Treuling" userId="59319ebe-00e0-4bed-b2ef-326bd7e50483" providerId="ADAL" clId="{BD9B40A7-68D7-46EB-BCC5-757646F2802A}" dt="2020-03-30T15:46:30.449" v="2"/>
          <ac:spMkLst>
            <pc:docMk/>
            <pc:sldMk cId="3996308554" sldId="264"/>
            <ac:spMk id="3" creationId="{8F64A22E-2B43-4FC6-AF08-0CDB3F9E9269}"/>
          </ac:spMkLst>
        </pc:spChg>
        <pc:spChg chg="mod">
          <ac:chgData name="Devid Treuling" userId="59319ebe-00e0-4bed-b2ef-326bd7e50483" providerId="ADAL" clId="{BD9B40A7-68D7-46EB-BCC5-757646F2802A}" dt="2020-03-30T15:46:30.449" v="2"/>
          <ac:spMkLst>
            <pc:docMk/>
            <pc:sldMk cId="3996308554" sldId="264"/>
            <ac:spMk id="7" creationId="{B0504AD0-36BB-4D91-BEB6-18A5CDC8B4E0}"/>
          </ac:spMkLst>
        </pc:spChg>
        <pc:picChg chg="mod">
          <ac:chgData name="Devid Treuling" userId="59319ebe-00e0-4bed-b2ef-326bd7e50483" providerId="ADAL" clId="{BD9B40A7-68D7-46EB-BCC5-757646F2802A}" dt="2020-03-30T15:46:30.449" v="2"/>
          <ac:picMkLst>
            <pc:docMk/>
            <pc:sldMk cId="3996308554" sldId="264"/>
            <ac:picMk id="16" creationId="{F27CF966-34DA-4658-8DA3-65A171614831}"/>
          </ac:picMkLst>
        </pc:picChg>
      </pc:sldChg>
      <pc:sldChg chg="modSp modTransition">
        <pc:chgData name="Devid Treuling" userId="59319ebe-00e0-4bed-b2ef-326bd7e50483" providerId="ADAL" clId="{BD9B40A7-68D7-46EB-BCC5-757646F2802A}" dt="2020-03-30T15:46:30.984" v="140"/>
        <pc:sldMkLst>
          <pc:docMk/>
          <pc:sldMk cId="4145703054" sldId="265"/>
        </pc:sldMkLst>
        <pc:spChg chg="mod">
          <ac:chgData name="Devid Treuling" userId="59319ebe-00e0-4bed-b2ef-326bd7e50483" providerId="ADAL" clId="{BD9B40A7-68D7-46EB-BCC5-757646F2802A}" dt="2020-03-30T15:46:30.449" v="2"/>
          <ac:spMkLst>
            <pc:docMk/>
            <pc:sldMk cId="4145703054" sldId="265"/>
            <ac:spMk id="2" creationId="{4615BB0C-211A-4A6B-A4FE-D9C725309C49}"/>
          </ac:spMkLst>
        </pc:spChg>
        <pc:spChg chg="mod">
          <ac:chgData name="Devid Treuling" userId="59319ebe-00e0-4bed-b2ef-326bd7e50483" providerId="ADAL" clId="{BD9B40A7-68D7-46EB-BCC5-757646F2802A}" dt="2020-03-30T15:46:30.449" v="2"/>
          <ac:spMkLst>
            <pc:docMk/>
            <pc:sldMk cId="4145703054" sldId="265"/>
            <ac:spMk id="15" creationId="{6DAA8F88-5BE5-4DEB-B8E1-CCA52313CEB8}"/>
          </ac:spMkLst>
        </pc:spChg>
        <pc:picChg chg="mod">
          <ac:chgData name="Devid Treuling" userId="59319ebe-00e0-4bed-b2ef-326bd7e50483" providerId="ADAL" clId="{BD9B40A7-68D7-46EB-BCC5-757646F2802A}" dt="2020-03-30T15:46:30.449" v="2"/>
          <ac:picMkLst>
            <pc:docMk/>
            <pc:sldMk cId="4145703054" sldId="265"/>
            <ac:picMk id="36" creationId="{E609CE4D-9188-4CF4-804D-5F16F38688F4}"/>
          </ac:picMkLst>
        </pc:picChg>
      </pc:sldChg>
      <pc:sldChg chg="modSp modTransition">
        <pc:chgData name="Devid Treuling" userId="59319ebe-00e0-4bed-b2ef-326bd7e50483" providerId="ADAL" clId="{BD9B40A7-68D7-46EB-BCC5-757646F2802A}" dt="2020-03-30T15:46:30.988" v="145"/>
        <pc:sldMkLst>
          <pc:docMk/>
          <pc:sldMk cId="3977638465" sldId="266"/>
        </pc:sldMkLst>
        <pc:spChg chg="mod">
          <ac:chgData name="Devid Treuling" userId="59319ebe-00e0-4bed-b2ef-326bd7e50483" providerId="ADAL" clId="{BD9B40A7-68D7-46EB-BCC5-757646F2802A}" dt="2020-03-30T15:46:30.449" v="2"/>
          <ac:spMkLst>
            <pc:docMk/>
            <pc:sldMk cId="3977638465" sldId="266"/>
            <ac:spMk id="2" creationId="{BC57B38C-8413-4861-A4F5-7DF656AEAD0D}"/>
          </ac:spMkLst>
        </pc:spChg>
        <pc:spChg chg="mod">
          <ac:chgData name="Devid Treuling" userId="59319ebe-00e0-4bed-b2ef-326bd7e50483" providerId="ADAL" clId="{BD9B40A7-68D7-46EB-BCC5-757646F2802A}" dt="2020-03-30T15:46:30.449" v="2"/>
          <ac:spMkLst>
            <pc:docMk/>
            <pc:sldMk cId="3977638465" sldId="266"/>
            <ac:spMk id="10" creationId="{3AEB9F1D-7FAA-4E4F-8117-85F44C19869A}"/>
          </ac:spMkLst>
        </pc:spChg>
        <pc:spChg chg="mod">
          <ac:chgData name="Devid Treuling" userId="59319ebe-00e0-4bed-b2ef-326bd7e50483" providerId="ADAL" clId="{BD9B40A7-68D7-46EB-BCC5-757646F2802A}" dt="2020-03-30T15:46:30.449" v="2"/>
          <ac:spMkLst>
            <pc:docMk/>
            <pc:sldMk cId="3977638465" sldId="266"/>
            <ac:spMk id="11" creationId="{F520343A-4103-4113-8E4D-00C78583B1A1}"/>
          </ac:spMkLst>
        </pc:spChg>
      </pc:sldChg>
      <pc:sldChg chg="modSp modTransition">
        <pc:chgData name="Devid Treuling" userId="59319ebe-00e0-4bed-b2ef-326bd7e50483" providerId="ADAL" clId="{BD9B40A7-68D7-46EB-BCC5-757646F2802A}" dt="2020-03-30T15:46:30.992" v="150"/>
        <pc:sldMkLst>
          <pc:docMk/>
          <pc:sldMk cId="3596592614" sldId="267"/>
        </pc:sldMkLst>
        <pc:spChg chg="mod">
          <ac:chgData name="Devid Treuling" userId="59319ebe-00e0-4bed-b2ef-326bd7e50483" providerId="ADAL" clId="{BD9B40A7-68D7-46EB-BCC5-757646F2802A}" dt="2020-03-30T15:46:30.449" v="2"/>
          <ac:spMkLst>
            <pc:docMk/>
            <pc:sldMk cId="3596592614" sldId="267"/>
            <ac:spMk id="5" creationId="{27132E6D-A6EE-402B-895A-D0B053AB702A}"/>
          </ac:spMkLst>
        </pc:spChg>
      </pc:sldChg>
      <pc:sldChg chg="modSp modTransition">
        <pc:chgData name="Devid Treuling" userId="59319ebe-00e0-4bed-b2ef-326bd7e50483" providerId="ADAL" clId="{BD9B40A7-68D7-46EB-BCC5-757646F2802A}" dt="2020-03-30T15:46:30.995" v="155"/>
        <pc:sldMkLst>
          <pc:docMk/>
          <pc:sldMk cId="2843332786" sldId="268"/>
        </pc:sldMkLst>
        <pc:spChg chg="mod">
          <ac:chgData name="Devid Treuling" userId="59319ebe-00e0-4bed-b2ef-326bd7e50483" providerId="ADAL" clId="{BD9B40A7-68D7-46EB-BCC5-757646F2802A}" dt="2020-03-30T15:46:30.449" v="2"/>
          <ac:spMkLst>
            <pc:docMk/>
            <pc:sldMk cId="2843332786" sldId="268"/>
            <ac:spMk id="2" creationId="{E0DCCC6D-05C4-4092-8C9D-AA0D46C1A281}"/>
          </ac:spMkLst>
        </pc:spChg>
        <pc:spChg chg="mod">
          <ac:chgData name="Devid Treuling" userId="59319ebe-00e0-4bed-b2ef-326bd7e50483" providerId="ADAL" clId="{BD9B40A7-68D7-46EB-BCC5-757646F2802A}" dt="2020-03-30T15:46:30.449" v="2"/>
          <ac:spMkLst>
            <pc:docMk/>
            <pc:sldMk cId="2843332786" sldId="268"/>
            <ac:spMk id="3" creationId="{00000000-0000-0000-0000-000000000000}"/>
          </ac:spMkLst>
        </pc:spChg>
      </pc:sldChg>
      <pc:sldChg chg="modTransition">
        <pc:chgData name="Devid Treuling" userId="59319ebe-00e0-4bed-b2ef-326bd7e50483" providerId="ADAL" clId="{BD9B40A7-68D7-46EB-BCC5-757646F2802A}" dt="2020-03-30T15:46:30.998" v="160"/>
        <pc:sldMkLst>
          <pc:docMk/>
          <pc:sldMk cId="1094208049" sldId="269"/>
        </pc:sldMkLst>
      </pc:sldChg>
      <pc:sldChg chg="modSp add del modTransition">
        <pc:chgData name="Devid Treuling" userId="59319ebe-00e0-4bed-b2ef-326bd7e50483" providerId="ADAL" clId="{BD9B40A7-68D7-46EB-BCC5-757646F2802A}" dt="2020-03-30T15:46:31.081" v="178" actId="2696"/>
        <pc:sldMkLst>
          <pc:docMk/>
          <pc:sldMk cId="4056762015" sldId="270"/>
        </pc:sldMkLst>
        <pc:spChg chg="mod">
          <ac:chgData name="Devid Treuling" userId="59319ebe-00e0-4bed-b2ef-326bd7e50483" providerId="ADAL" clId="{BD9B40A7-68D7-46EB-BCC5-757646F2802A}" dt="2020-03-30T15:46:30.449" v="2"/>
          <ac:spMkLst>
            <pc:docMk/>
            <pc:sldMk cId="4056762015" sldId="270"/>
            <ac:spMk id="2" creationId="{DDE032E4-AB23-44F4-B872-A5689EF0F28C}"/>
          </ac:spMkLst>
        </pc:spChg>
        <pc:spChg chg="mod">
          <ac:chgData name="Devid Treuling" userId="59319ebe-00e0-4bed-b2ef-326bd7e50483" providerId="ADAL" clId="{BD9B40A7-68D7-46EB-BCC5-757646F2802A}" dt="2020-03-30T15:46:30.449" v="2"/>
          <ac:spMkLst>
            <pc:docMk/>
            <pc:sldMk cId="4056762015" sldId="270"/>
            <ac:spMk id="3" creationId="{4F048C44-0263-46F0-AF53-B441DAB05BEC}"/>
          </ac:spMkLst>
        </pc:spChg>
      </pc:sldChg>
      <pc:sldChg chg="add del">
        <pc:chgData name="Devid Treuling" userId="59319ebe-00e0-4bed-b2ef-326bd7e50483" providerId="ADAL" clId="{BD9B40A7-68D7-46EB-BCC5-757646F2802A}" dt="2020-03-30T15:46:30.758" v="54" actId="2696"/>
        <pc:sldMkLst>
          <pc:docMk/>
          <pc:sldMk cId="24838292" sldId="271"/>
        </pc:sldMkLst>
      </pc:sldChg>
      <pc:sldChg chg="add del">
        <pc:chgData name="Devid Treuling" userId="59319ebe-00e0-4bed-b2ef-326bd7e50483" providerId="ADAL" clId="{BD9B40A7-68D7-46EB-BCC5-757646F2802A}" dt="2020-03-30T15:46:30.654" v="32" actId="2696"/>
        <pc:sldMkLst>
          <pc:docMk/>
          <pc:sldMk cId="26388741" sldId="271"/>
        </pc:sldMkLst>
      </pc:sldChg>
      <pc:sldChg chg="add del">
        <pc:chgData name="Devid Treuling" userId="59319ebe-00e0-4bed-b2ef-326bd7e50483" providerId="ADAL" clId="{BD9B40A7-68D7-46EB-BCC5-757646F2802A}" dt="2020-03-30T15:46:30.873" v="76" actId="2696"/>
        <pc:sldMkLst>
          <pc:docMk/>
          <pc:sldMk cId="174929165" sldId="271"/>
        </pc:sldMkLst>
      </pc:sldChg>
      <pc:sldChg chg="add del">
        <pc:chgData name="Devid Treuling" userId="59319ebe-00e0-4bed-b2ef-326bd7e50483" providerId="ADAL" clId="{BD9B40A7-68D7-46EB-BCC5-757646F2802A}" dt="2020-03-30T15:46:30.580" v="16" actId="2696"/>
        <pc:sldMkLst>
          <pc:docMk/>
          <pc:sldMk cId="209311834" sldId="271"/>
        </pc:sldMkLst>
      </pc:sldChg>
      <pc:sldChg chg="add del">
        <pc:chgData name="Devid Treuling" userId="59319ebe-00e0-4bed-b2ef-326bd7e50483" providerId="ADAL" clId="{BD9B40A7-68D7-46EB-BCC5-757646F2802A}" dt="2020-03-30T15:46:30.692" v="40" actId="2696"/>
        <pc:sldMkLst>
          <pc:docMk/>
          <pc:sldMk cId="383688347" sldId="271"/>
        </pc:sldMkLst>
      </pc:sldChg>
      <pc:sldChg chg="add del">
        <pc:chgData name="Devid Treuling" userId="59319ebe-00e0-4bed-b2ef-326bd7e50483" providerId="ADAL" clId="{BD9B40A7-68D7-46EB-BCC5-757646F2802A}" dt="2020-03-30T15:46:30.739" v="50" actId="2696"/>
        <pc:sldMkLst>
          <pc:docMk/>
          <pc:sldMk cId="537558067" sldId="271"/>
        </pc:sldMkLst>
      </pc:sldChg>
      <pc:sldChg chg="add del">
        <pc:chgData name="Devid Treuling" userId="59319ebe-00e0-4bed-b2ef-326bd7e50483" providerId="ADAL" clId="{BD9B40A7-68D7-46EB-BCC5-757646F2802A}" dt="2020-03-30T15:46:30.607" v="22" actId="2696"/>
        <pc:sldMkLst>
          <pc:docMk/>
          <pc:sldMk cId="585797843" sldId="271"/>
        </pc:sldMkLst>
      </pc:sldChg>
      <pc:sldChg chg="add del">
        <pc:chgData name="Devid Treuling" userId="59319ebe-00e0-4bed-b2ef-326bd7e50483" providerId="ADAL" clId="{BD9B40A7-68D7-46EB-BCC5-757646F2802A}" dt="2020-03-30T15:46:30.931" v="90" actId="2696"/>
        <pc:sldMkLst>
          <pc:docMk/>
          <pc:sldMk cId="600902710" sldId="271"/>
        </pc:sldMkLst>
      </pc:sldChg>
      <pc:sldChg chg="add del">
        <pc:chgData name="Devid Treuling" userId="59319ebe-00e0-4bed-b2ef-326bd7e50483" providerId="ADAL" clId="{BD9B40A7-68D7-46EB-BCC5-757646F2802A}" dt="2020-03-30T15:46:30.529" v="6" actId="2696"/>
        <pc:sldMkLst>
          <pc:docMk/>
          <pc:sldMk cId="615914936" sldId="271"/>
        </pc:sldMkLst>
      </pc:sldChg>
      <pc:sldChg chg="add del">
        <pc:chgData name="Devid Treuling" userId="59319ebe-00e0-4bed-b2ef-326bd7e50483" providerId="ADAL" clId="{BD9B40A7-68D7-46EB-BCC5-757646F2802A}" dt="2020-03-30T15:46:30.646" v="30" actId="2696"/>
        <pc:sldMkLst>
          <pc:docMk/>
          <pc:sldMk cId="812087976" sldId="271"/>
        </pc:sldMkLst>
      </pc:sldChg>
      <pc:sldChg chg="add del">
        <pc:chgData name="Devid Treuling" userId="59319ebe-00e0-4bed-b2ef-326bd7e50483" providerId="ADAL" clId="{BD9B40A7-68D7-46EB-BCC5-757646F2802A}" dt="2020-03-30T15:46:30.748" v="52" actId="2696"/>
        <pc:sldMkLst>
          <pc:docMk/>
          <pc:sldMk cId="812709239" sldId="271"/>
        </pc:sldMkLst>
      </pc:sldChg>
      <pc:sldChg chg="add del">
        <pc:chgData name="Devid Treuling" userId="59319ebe-00e0-4bed-b2ef-326bd7e50483" providerId="ADAL" clId="{BD9B40A7-68D7-46EB-BCC5-757646F2802A}" dt="2020-03-30T15:46:30.801" v="62" actId="2696"/>
        <pc:sldMkLst>
          <pc:docMk/>
          <pc:sldMk cId="816900028" sldId="271"/>
        </pc:sldMkLst>
      </pc:sldChg>
      <pc:sldChg chg="add del">
        <pc:chgData name="Devid Treuling" userId="59319ebe-00e0-4bed-b2ef-326bd7e50483" providerId="ADAL" clId="{BD9B40A7-68D7-46EB-BCC5-757646F2802A}" dt="2020-03-30T15:46:30.882" v="78" actId="2696"/>
        <pc:sldMkLst>
          <pc:docMk/>
          <pc:sldMk cId="836809976" sldId="271"/>
        </pc:sldMkLst>
      </pc:sldChg>
      <pc:sldChg chg="add del">
        <pc:chgData name="Devid Treuling" userId="59319ebe-00e0-4bed-b2ef-326bd7e50483" providerId="ADAL" clId="{BD9B40A7-68D7-46EB-BCC5-757646F2802A}" dt="2020-03-30T15:46:30.772" v="56" actId="2696"/>
        <pc:sldMkLst>
          <pc:docMk/>
          <pc:sldMk cId="938941747" sldId="271"/>
        </pc:sldMkLst>
      </pc:sldChg>
      <pc:sldChg chg="add del">
        <pc:chgData name="Devid Treuling" userId="59319ebe-00e0-4bed-b2ef-326bd7e50483" providerId="ADAL" clId="{BD9B40A7-68D7-46EB-BCC5-757646F2802A}" dt="2020-03-30T15:46:30.708" v="44" actId="2696"/>
        <pc:sldMkLst>
          <pc:docMk/>
          <pc:sldMk cId="988338626" sldId="271"/>
        </pc:sldMkLst>
      </pc:sldChg>
      <pc:sldChg chg="add del">
        <pc:chgData name="Devid Treuling" userId="59319ebe-00e0-4bed-b2ef-326bd7e50483" providerId="ADAL" clId="{BD9B40A7-68D7-46EB-BCC5-757646F2802A}" dt="2020-03-30T15:46:30.728" v="48" actId="2696"/>
        <pc:sldMkLst>
          <pc:docMk/>
          <pc:sldMk cId="1087017851" sldId="271"/>
        </pc:sldMkLst>
      </pc:sldChg>
      <pc:sldChg chg="add del">
        <pc:chgData name="Devid Treuling" userId="59319ebe-00e0-4bed-b2ef-326bd7e50483" providerId="ADAL" clId="{BD9B40A7-68D7-46EB-BCC5-757646F2802A}" dt="2020-03-30T15:46:30.908" v="84" actId="2696"/>
        <pc:sldMkLst>
          <pc:docMk/>
          <pc:sldMk cId="1157402523" sldId="271"/>
        </pc:sldMkLst>
      </pc:sldChg>
      <pc:sldChg chg="add del">
        <pc:chgData name="Devid Treuling" userId="59319ebe-00e0-4bed-b2ef-326bd7e50483" providerId="ADAL" clId="{BD9B40A7-68D7-46EB-BCC5-757646F2802A}" dt="2020-03-30T15:46:30.627" v="26" actId="2696"/>
        <pc:sldMkLst>
          <pc:docMk/>
          <pc:sldMk cId="1293911767" sldId="271"/>
        </pc:sldMkLst>
      </pc:sldChg>
      <pc:sldChg chg="add del">
        <pc:chgData name="Devid Treuling" userId="59319ebe-00e0-4bed-b2ef-326bd7e50483" providerId="ADAL" clId="{BD9B40A7-68D7-46EB-BCC5-757646F2802A}" dt="2020-03-30T15:46:30.864" v="74" actId="2696"/>
        <pc:sldMkLst>
          <pc:docMk/>
          <pc:sldMk cId="1320475389" sldId="271"/>
        </pc:sldMkLst>
      </pc:sldChg>
      <pc:sldChg chg="add del">
        <pc:chgData name="Devid Treuling" userId="59319ebe-00e0-4bed-b2ef-326bd7e50483" providerId="ADAL" clId="{BD9B40A7-68D7-46EB-BCC5-757646F2802A}" dt="2020-03-30T15:46:30.892" v="80" actId="2696"/>
        <pc:sldMkLst>
          <pc:docMk/>
          <pc:sldMk cId="1602195139" sldId="271"/>
        </pc:sldMkLst>
      </pc:sldChg>
      <pc:sldChg chg="add del">
        <pc:chgData name="Devid Treuling" userId="59319ebe-00e0-4bed-b2ef-326bd7e50483" providerId="ADAL" clId="{BD9B40A7-68D7-46EB-BCC5-757646F2802A}" dt="2020-03-30T15:46:30.922" v="88" actId="2696"/>
        <pc:sldMkLst>
          <pc:docMk/>
          <pc:sldMk cId="1629968483" sldId="271"/>
        </pc:sldMkLst>
      </pc:sldChg>
      <pc:sldChg chg="add del">
        <pc:chgData name="Devid Treuling" userId="59319ebe-00e0-4bed-b2ef-326bd7e50483" providerId="ADAL" clId="{BD9B40A7-68D7-46EB-BCC5-757646F2802A}" dt="2020-03-30T15:46:30.675" v="36" actId="2696"/>
        <pc:sldMkLst>
          <pc:docMk/>
          <pc:sldMk cId="1821932808" sldId="271"/>
        </pc:sldMkLst>
      </pc:sldChg>
      <pc:sldChg chg="add del">
        <pc:chgData name="Devid Treuling" userId="59319ebe-00e0-4bed-b2ef-326bd7e50483" providerId="ADAL" clId="{BD9B40A7-68D7-46EB-BCC5-757646F2802A}" dt="2020-03-30T15:46:30.847" v="70" actId="2696"/>
        <pc:sldMkLst>
          <pc:docMk/>
          <pc:sldMk cId="1831128011" sldId="271"/>
        </pc:sldMkLst>
      </pc:sldChg>
      <pc:sldChg chg="add del">
        <pc:chgData name="Devid Treuling" userId="59319ebe-00e0-4bed-b2ef-326bd7e50483" providerId="ADAL" clId="{BD9B40A7-68D7-46EB-BCC5-757646F2802A}" dt="2020-03-30T15:46:30.836" v="68" actId="2696"/>
        <pc:sldMkLst>
          <pc:docMk/>
          <pc:sldMk cId="1874944387" sldId="271"/>
        </pc:sldMkLst>
      </pc:sldChg>
      <pc:sldChg chg="add del">
        <pc:chgData name="Devid Treuling" userId="59319ebe-00e0-4bed-b2ef-326bd7e50483" providerId="ADAL" clId="{BD9B40A7-68D7-46EB-BCC5-757646F2802A}" dt="2020-03-30T15:46:30.812" v="64" actId="2696"/>
        <pc:sldMkLst>
          <pc:docMk/>
          <pc:sldMk cId="1987639521" sldId="271"/>
        </pc:sldMkLst>
      </pc:sldChg>
      <pc:sldChg chg="add del">
        <pc:chgData name="Devid Treuling" userId="59319ebe-00e0-4bed-b2ef-326bd7e50483" providerId="ADAL" clId="{BD9B40A7-68D7-46EB-BCC5-757646F2802A}" dt="2020-03-30T15:46:30.717" v="46" actId="2696"/>
        <pc:sldMkLst>
          <pc:docMk/>
          <pc:sldMk cId="2035686724" sldId="271"/>
        </pc:sldMkLst>
      </pc:sldChg>
      <pc:sldChg chg="add del">
        <pc:chgData name="Devid Treuling" userId="59319ebe-00e0-4bed-b2ef-326bd7e50483" providerId="ADAL" clId="{BD9B40A7-68D7-46EB-BCC5-757646F2802A}" dt="2020-03-30T15:46:30.784" v="58" actId="2696"/>
        <pc:sldMkLst>
          <pc:docMk/>
          <pc:sldMk cId="2076686317" sldId="271"/>
        </pc:sldMkLst>
      </pc:sldChg>
      <pc:sldChg chg="add del">
        <pc:chgData name="Devid Treuling" userId="59319ebe-00e0-4bed-b2ef-326bd7e50483" providerId="ADAL" clId="{BD9B40A7-68D7-46EB-BCC5-757646F2802A}" dt="2020-03-30T15:46:30.856" v="72" actId="2696"/>
        <pc:sldMkLst>
          <pc:docMk/>
          <pc:sldMk cId="2184537088" sldId="271"/>
        </pc:sldMkLst>
      </pc:sldChg>
      <pc:sldChg chg="add del">
        <pc:chgData name="Devid Treuling" userId="59319ebe-00e0-4bed-b2ef-326bd7e50483" providerId="ADAL" clId="{BD9B40A7-68D7-46EB-BCC5-757646F2802A}" dt="2020-03-30T15:46:30.538" v="8" actId="2696"/>
        <pc:sldMkLst>
          <pc:docMk/>
          <pc:sldMk cId="2275841987" sldId="271"/>
        </pc:sldMkLst>
      </pc:sldChg>
      <pc:sldChg chg="add del">
        <pc:chgData name="Devid Treuling" userId="59319ebe-00e0-4bed-b2ef-326bd7e50483" providerId="ADAL" clId="{BD9B40A7-68D7-46EB-BCC5-757646F2802A}" dt="2020-03-30T15:46:30.684" v="38" actId="2696"/>
        <pc:sldMkLst>
          <pc:docMk/>
          <pc:sldMk cId="2318140141" sldId="271"/>
        </pc:sldMkLst>
      </pc:sldChg>
      <pc:sldChg chg="add del">
        <pc:chgData name="Devid Treuling" userId="59319ebe-00e0-4bed-b2ef-326bd7e50483" providerId="ADAL" clId="{BD9B40A7-68D7-46EB-BCC5-757646F2802A}" dt="2020-03-30T15:46:30.568" v="14" actId="2696"/>
        <pc:sldMkLst>
          <pc:docMk/>
          <pc:sldMk cId="2463965004" sldId="271"/>
        </pc:sldMkLst>
      </pc:sldChg>
      <pc:sldChg chg="add del">
        <pc:chgData name="Devid Treuling" userId="59319ebe-00e0-4bed-b2ef-326bd7e50483" providerId="ADAL" clId="{BD9B40A7-68D7-46EB-BCC5-757646F2802A}" dt="2020-03-30T15:46:30.598" v="20" actId="2696"/>
        <pc:sldMkLst>
          <pc:docMk/>
          <pc:sldMk cId="2668626736" sldId="271"/>
        </pc:sldMkLst>
      </pc:sldChg>
      <pc:sldChg chg="add del">
        <pc:chgData name="Devid Treuling" userId="59319ebe-00e0-4bed-b2ef-326bd7e50483" providerId="ADAL" clId="{BD9B40A7-68D7-46EB-BCC5-757646F2802A}" dt="2020-03-30T15:46:30.589" v="18" actId="2696"/>
        <pc:sldMkLst>
          <pc:docMk/>
          <pc:sldMk cId="2840747825" sldId="271"/>
        </pc:sldMkLst>
      </pc:sldChg>
      <pc:sldChg chg="add del">
        <pc:chgData name="Devid Treuling" userId="59319ebe-00e0-4bed-b2ef-326bd7e50483" providerId="ADAL" clId="{BD9B40A7-68D7-46EB-BCC5-757646F2802A}" dt="2020-03-30T15:46:30.826" v="66" actId="2696"/>
        <pc:sldMkLst>
          <pc:docMk/>
          <pc:sldMk cId="2911685531" sldId="271"/>
        </pc:sldMkLst>
      </pc:sldChg>
      <pc:sldChg chg="add del">
        <pc:chgData name="Devid Treuling" userId="59319ebe-00e0-4bed-b2ef-326bd7e50483" providerId="ADAL" clId="{BD9B40A7-68D7-46EB-BCC5-757646F2802A}" dt="2020-03-30T15:46:30.549" v="10" actId="2696"/>
        <pc:sldMkLst>
          <pc:docMk/>
          <pc:sldMk cId="3104000793" sldId="271"/>
        </pc:sldMkLst>
      </pc:sldChg>
      <pc:sldChg chg="add del">
        <pc:chgData name="Devid Treuling" userId="59319ebe-00e0-4bed-b2ef-326bd7e50483" providerId="ADAL" clId="{BD9B40A7-68D7-46EB-BCC5-757646F2802A}" dt="2020-03-30T15:46:30.618" v="24" actId="2696"/>
        <pc:sldMkLst>
          <pc:docMk/>
          <pc:sldMk cId="3144523521" sldId="271"/>
        </pc:sldMkLst>
      </pc:sldChg>
      <pc:sldChg chg="add del">
        <pc:chgData name="Devid Treuling" userId="59319ebe-00e0-4bed-b2ef-326bd7e50483" providerId="ADAL" clId="{BD9B40A7-68D7-46EB-BCC5-757646F2802A}" dt="2020-03-30T15:46:30.557" v="12" actId="2696"/>
        <pc:sldMkLst>
          <pc:docMk/>
          <pc:sldMk cId="3448699608" sldId="271"/>
        </pc:sldMkLst>
      </pc:sldChg>
      <pc:sldChg chg="add del">
        <pc:chgData name="Devid Treuling" userId="59319ebe-00e0-4bed-b2ef-326bd7e50483" providerId="ADAL" clId="{BD9B40A7-68D7-46EB-BCC5-757646F2802A}" dt="2020-03-30T15:46:30.519" v="4" actId="2696"/>
        <pc:sldMkLst>
          <pc:docMk/>
          <pc:sldMk cId="3511695746" sldId="271"/>
        </pc:sldMkLst>
      </pc:sldChg>
      <pc:sldChg chg="add del">
        <pc:chgData name="Devid Treuling" userId="59319ebe-00e0-4bed-b2ef-326bd7e50483" providerId="ADAL" clId="{BD9B40A7-68D7-46EB-BCC5-757646F2802A}" dt="2020-03-30T15:46:30.915" v="86" actId="2696"/>
        <pc:sldMkLst>
          <pc:docMk/>
          <pc:sldMk cId="3672178177" sldId="271"/>
        </pc:sldMkLst>
      </pc:sldChg>
      <pc:sldChg chg="add del">
        <pc:chgData name="Devid Treuling" userId="59319ebe-00e0-4bed-b2ef-326bd7e50483" providerId="ADAL" clId="{BD9B40A7-68D7-46EB-BCC5-757646F2802A}" dt="2020-03-30T15:46:30.700" v="42" actId="2696"/>
        <pc:sldMkLst>
          <pc:docMk/>
          <pc:sldMk cId="3777104470" sldId="271"/>
        </pc:sldMkLst>
      </pc:sldChg>
      <pc:sldChg chg="add del">
        <pc:chgData name="Devid Treuling" userId="59319ebe-00e0-4bed-b2ef-326bd7e50483" providerId="ADAL" clId="{BD9B40A7-68D7-46EB-BCC5-757646F2802A}" dt="2020-03-30T15:46:30.793" v="60" actId="2696"/>
        <pc:sldMkLst>
          <pc:docMk/>
          <pc:sldMk cId="3797561267" sldId="271"/>
        </pc:sldMkLst>
      </pc:sldChg>
      <pc:sldChg chg="add del">
        <pc:chgData name="Devid Treuling" userId="59319ebe-00e0-4bed-b2ef-326bd7e50483" providerId="ADAL" clId="{BD9B40A7-68D7-46EB-BCC5-757646F2802A}" dt="2020-03-30T15:46:30.636" v="28" actId="2696"/>
        <pc:sldMkLst>
          <pc:docMk/>
          <pc:sldMk cId="3829243452" sldId="271"/>
        </pc:sldMkLst>
      </pc:sldChg>
      <pc:sldChg chg="add del">
        <pc:chgData name="Devid Treuling" userId="59319ebe-00e0-4bed-b2ef-326bd7e50483" providerId="ADAL" clId="{BD9B40A7-68D7-46EB-BCC5-757646F2802A}" dt="2020-03-30T15:46:30.900" v="82" actId="2696"/>
        <pc:sldMkLst>
          <pc:docMk/>
          <pc:sldMk cId="3932504419" sldId="271"/>
        </pc:sldMkLst>
      </pc:sldChg>
      <pc:sldChg chg="add del">
        <pc:chgData name="Devid Treuling" userId="59319ebe-00e0-4bed-b2ef-326bd7e50483" providerId="ADAL" clId="{BD9B40A7-68D7-46EB-BCC5-757646F2802A}" dt="2020-03-30T15:46:30.665" v="34" actId="2696"/>
        <pc:sldMkLst>
          <pc:docMk/>
          <pc:sldMk cId="4047870704" sldId="271"/>
        </pc:sldMkLst>
      </pc:sldChg>
      <pc:sldMasterChg chg="addSp modSp del delSldLayout">
        <pc:chgData name="Devid Treuling" userId="59319ebe-00e0-4bed-b2ef-326bd7e50483" providerId="ADAL" clId="{BD9B40A7-68D7-46EB-BCC5-757646F2802A}" dt="2020-03-30T15:46:31.076" v="177" actId="2696"/>
        <pc:sldMasterMkLst>
          <pc:docMk/>
          <pc:sldMasterMk cId="148385369" sldId="2147483807"/>
        </pc:sldMasterMkLst>
        <pc:spChg chg="add mod">
          <ac:chgData name="Devid Treuling" userId="59319ebe-00e0-4bed-b2ef-326bd7e50483" providerId="ADAL" clId="{BD9B40A7-68D7-46EB-BCC5-757646F2802A}" dt="2020-03-30T15:46:30.214" v="0"/>
          <ac:spMkLst>
            <pc:docMk/>
            <pc:sldMasterMk cId="148385369" sldId="2147483807"/>
            <ac:spMk id="2" creationId="{7BF32DED-B87E-4628-8D30-B498402EEDF4}"/>
          </ac:spMkLst>
        </pc:spChg>
        <pc:spChg chg="add mod">
          <ac:chgData name="Devid Treuling" userId="59319ebe-00e0-4bed-b2ef-326bd7e50483" providerId="ADAL" clId="{BD9B40A7-68D7-46EB-BCC5-757646F2802A}" dt="2020-03-30T15:46:30.214" v="0"/>
          <ac:spMkLst>
            <pc:docMk/>
            <pc:sldMasterMk cId="148385369" sldId="2147483807"/>
            <ac:spMk id="3" creationId="{1C5C5584-E95A-412B-8CE0-996D869ECDC6}"/>
          </ac:spMkLst>
        </pc:spChg>
        <pc:spChg chg="add mod">
          <ac:chgData name="Devid Treuling" userId="59319ebe-00e0-4bed-b2ef-326bd7e50483" providerId="ADAL" clId="{BD9B40A7-68D7-46EB-BCC5-757646F2802A}" dt="2020-03-30T15:46:30.214" v="0"/>
          <ac:spMkLst>
            <pc:docMk/>
            <pc:sldMasterMk cId="148385369" sldId="2147483807"/>
            <ac:spMk id="4" creationId="{13248CD2-059F-418F-83AE-91925DA30101}"/>
          </ac:spMkLst>
        </pc:spChg>
        <pc:spChg chg="add mod">
          <ac:chgData name="Devid Treuling" userId="59319ebe-00e0-4bed-b2ef-326bd7e50483" providerId="ADAL" clId="{BD9B40A7-68D7-46EB-BCC5-757646F2802A}" dt="2020-03-30T15:46:30.214" v="0"/>
          <ac:spMkLst>
            <pc:docMk/>
            <pc:sldMasterMk cId="148385369" sldId="2147483807"/>
            <ac:spMk id="5" creationId="{5C7C3C08-B097-4B69-B08B-0531FF8BB6BC}"/>
          </ac:spMkLst>
        </pc:spChg>
        <pc:spChg chg="add mod">
          <ac:chgData name="Devid Treuling" userId="59319ebe-00e0-4bed-b2ef-326bd7e50483" providerId="ADAL" clId="{BD9B40A7-68D7-46EB-BCC5-757646F2802A}" dt="2020-03-30T15:46:30.214" v="0"/>
          <ac:spMkLst>
            <pc:docMk/>
            <pc:sldMasterMk cId="148385369" sldId="2147483807"/>
            <ac:spMk id="6" creationId="{54AB5534-C8B4-4876-8B56-5A9D6407CAE8}"/>
          </ac:spMkLst>
        </pc:spChg>
        <pc:sldLayoutChg chg="del">
          <pc:chgData name="Devid Treuling" userId="59319ebe-00e0-4bed-b2ef-326bd7e50483" providerId="ADAL" clId="{BD9B40A7-68D7-46EB-BCC5-757646F2802A}" dt="2020-03-30T15:46:31.032" v="166" actId="2696"/>
          <pc:sldLayoutMkLst>
            <pc:docMk/>
            <pc:sldMasterMk cId="148385369" sldId="2147483807"/>
            <pc:sldLayoutMk cId="1663441160" sldId="2147483808"/>
          </pc:sldLayoutMkLst>
        </pc:sldLayoutChg>
        <pc:sldLayoutChg chg="del">
          <pc:chgData name="Devid Treuling" userId="59319ebe-00e0-4bed-b2ef-326bd7e50483" providerId="ADAL" clId="{BD9B40A7-68D7-46EB-BCC5-757646F2802A}" dt="2020-03-30T15:46:31.036" v="167" actId="2696"/>
          <pc:sldLayoutMkLst>
            <pc:docMk/>
            <pc:sldMasterMk cId="148385369" sldId="2147483807"/>
            <pc:sldLayoutMk cId="2540752223" sldId="2147483809"/>
          </pc:sldLayoutMkLst>
        </pc:sldLayoutChg>
        <pc:sldLayoutChg chg="del">
          <pc:chgData name="Devid Treuling" userId="59319ebe-00e0-4bed-b2ef-326bd7e50483" providerId="ADAL" clId="{BD9B40A7-68D7-46EB-BCC5-757646F2802A}" dt="2020-03-30T15:46:31.040" v="168" actId="2696"/>
          <pc:sldLayoutMkLst>
            <pc:docMk/>
            <pc:sldMasterMk cId="148385369" sldId="2147483807"/>
            <pc:sldLayoutMk cId="2662298764" sldId="2147483810"/>
          </pc:sldLayoutMkLst>
        </pc:sldLayoutChg>
        <pc:sldLayoutChg chg="del">
          <pc:chgData name="Devid Treuling" userId="59319ebe-00e0-4bed-b2ef-326bd7e50483" providerId="ADAL" clId="{BD9B40A7-68D7-46EB-BCC5-757646F2802A}" dt="2020-03-30T15:46:31.044" v="169" actId="2696"/>
          <pc:sldLayoutMkLst>
            <pc:docMk/>
            <pc:sldMasterMk cId="148385369" sldId="2147483807"/>
            <pc:sldLayoutMk cId="1512736475" sldId="2147483811"/>
          </pc:sldLayoutMkLst>
        </pc:sldLayoutChg>
        <pc:sldLayoutChg chg="del">
          <pc:chgData name="Devid Treuling" userId="59319ebe-00e0-4bed-b2ef-326bd7e50483" providerId="ADAL" clId="{BD9B40A7-68D7-46EB-BCC5-757646F2802A}" dt="2020-03-30T15:46:31.049" v="170" actId="2696"/>
          <pc:sldLayoutMkLst>
            <pc:docMk/>
            <pc:sldMasterMk cId="148385369" sldId="2147483807"/>
            <pc:sldLayoutMk cId="2838614088" sldId="2147483812"/>
          </pc:sldLayoutMkLst>
        </pc:sldLayoutChg>
        <pc:sldLayoutChg chg="del">
          <pc:chgData name="Devid Treuling" userId="59319ebe-00e0-4bed-b2ef-326bd7e50483" providerId="ADAL" clId="{BD9B40A7-68D7-46EB-BCC5-757646F2802A}" dt="2020-03-30T15:46:31.052" v="171" actId="2696"/>
          <pc:sldLayoutMkLst>
            <pc:docMk/>
            <pc:sldMasterMk cId="148385369" sldId="2147483807"/>
            <pc:sldLayoutMk cId="2498982971" sldId="2147483813"/>
          </pc:sldLayoutMkLst>
        </pc:sldLayoutChg>
        <pc:sldLayoutChg chg="del">
          <pc:chgData name="Devid Treuling" userId="59319ebe-00e0-4bed-b2ef-326bd7e50483" providerId="ADAL" clId="{BD9B40A7-68D7-46EB-BCC5-757646F2802A}" dt="2020-03-30T15:46:31.056" v="172" actId="2696"/>
          <pc:sldLayoutMkLst>
            <pc:docMk/>
            <pc:sldMasterMk cId="148385369" sldId="2147483807"/>
            <pc:sldLayoutMk cId="1450734048" sldId="2147483814"/>
          </pc:sldLayoutMkLst>
        </pc:sldLayoutChg>
        <pc:sldLayoutChg chg="del">
          <pc:chgData name="Devid Treuling" userId="59319ebe-00e0-4bed-b2ef-326bd7e50483" providerId="ADAL" clId="{BD9B40A7-68D7-46EB-BCC5-757646F2802A}" dt="2020-03-30T15:46:31.060" v="173" actId="2696"/>
          <pc:sldLayoutMkLst>
            <pc:docMk/>
            <pc:sldMasterMk cId="148385369" sldId="2147483807"/>
            <pc:sldLayoutMk cId="1651121265" sldId="2147483815"/>
          </pc:sldLayoutMkLst>
        </pc:sldLayoutChg>
        <pc:sldLayoutChg chg="del">
          <pc:chgData name="Devid Treuling" userId="59319ebe-00e0-4bed-b2ef-326bd7e50483" providerId="ADAL" clId="{BD9B40A7-68D7-46EB-BCC5-757646F2802A}" dt="2020-03-30T15:46:31.064" v="174" actId="2696"/>
          <pc:sldLayoutMkLst>
            <pc:docMk/>
            <pc:sldMasterMk cId="148385369" sldId="2147483807"/>
            <pc:sldLayoutMk cId="2688497052" sldId="2147483816"/>
          </pc:sldLayoutMkLst>
        </pc:sldLayoutChg>
        <pc:sldLayoutChg chg="del">
          <pc:chgData name="Devid Treuling" userId="59319ebe-00e0-4bed-b2ef-326bd7e50483" providerId="ADAL" clId="{BD9B40A7-68D7-46EB-BCC5-757646F2802A}" dt="2020-03-30T15:46:31.068" v="175" actId="2696"/>
          <pc:sldLayoutMkLst>
            <pc:docMk/>
            <pc:sldMasterMk cId="148385369" sldId="2147483807"/>
            <pc:sldLayoutMk cId="4017846506" sldId="2147483817"/>
          </pc:sldLayoutMkLst>
        </pc:sldLayoutChg>
        <pc:sldLayoutChg chg="del">
          <pc:chgData name="Devid Treuling" userId="59319ebe-00e0-4bed-b2ef-326bd7e50483" providerId="ADAL" clId="{BD9B40A7-68D7-46EB-BCC5-757646F2802A}" dt="2020-03-30T15:46:31.072" v="176" actId="2696"/>
          <pc:sldLayoutMkLst>
            <pc:docMk/>
            <pc:sldMasterMk cId="148385369" sldId="2147483807"/>
            <pc:sldLayoutMk cId="4185818252" sldId="2147483818"/>
          </pc:sldLayoutMkLst>
        </pc:sldLayoutChg>
      </pc:sldMasterChg>
    </pc:docChg>
  </pc:docChgLst>
  <pc:docChgLst>
    <pc:chgData name="Vanitha Prabhakaran" userId="S::vanithp@microsoft.com::e95eb377-dfdd-4aab-8cbe-ebaf486b18a5" providerId="AD" clId="Web-{4940B4D7-2266-7980-BA0B-0176BCEFEDA5}"/>
    <pc:docChg chg="modSld">
      <pc:chgData name="Vanitha Prabhakaran" userId="S::vanithp@microsoft.com::e95eb377-dfdd-4aab-8cbe-ebaf486b18a5" providerId="AD" clId="Web-{4940B4D7-2266-7980-BA0B-0176BCEFEDA5}" dt="2021-09-02T19:36:10.328" v="2"/>
      <pc:docMkLst>
        <pc:docMk/>
      </pc:docMkLst>
      <pc:sldChg chg="addSp">
        <pc:chgData name="Vanitha Prabhakaran" userId="S::vanithp@microsoft.com::e95eb377-dfdd-4aab-8cbe-ebaf486b18a5" providerId="AD" clId="Web-{4940B4D7-2266-7980-BA0B-0176BCEFEDA5}" dt="2021-09-02T19:36:10.328" v="2"/>
        <pc:sldMkLst>
          <pc:docMk/>
          <pc:sldMk cId="2242852715" sldId="257"/>
        </pc:sldMkLst>
        <pc:spChg chg="add">
          <ac:chgData name="Vanitha Prabhakaran" userId="S::vanithp@microsoft.com::e95eb377-dfdd-4aab-8cbe-ebaf486b18a5" providerId="AD" clId="Web-{4940B4D7-2266-7980-BA0B-0176BCEFEDA5}" dt="2021-09-02T19:36:05.969" v="0"/>
          <ac:spMkLst>
            <pc:docMk/>
            <pc:sldMk cId="2242852715" sldId="257"/>
            <ac:spMk id="3" creationId="{743C3B0A-A836-439B-950C-1AAD5DB5CA53}"/>
          </ac:spMkLst>
        </pc:spChg>
        <pc:spChg chg="add">
          <ac:chgData name="Vanitha Prabhakaran" userId="S::vanithp@microsoft.com::e95eb377-dfdd-4aab-8cbe-ebaf486b18a5" providerId="AD" clId="Web-{4940B4D7-2266-7980-BA0B-0176BCEFEDA5}" dt="2021-09-02T19:36:07.813" v="1"/>
          <ac:spMkLst>
            <pc:docMk/>
            <pc:sldMk cId="2242852715" sldId="257"/>
            <ac:spMk id="4" creationId="{49858A07-02B4-4F10-A82B-C6EA5A0D5BB2}"/>
          </ac:spMkLst>
        </pc:spChg>
        <pc:spChg chg="add">
          <ac:chgData name="Vanitha Prabhakaran" userId="S::vanithp@microsoft.com::e95eb377-dfdd-4aab-8cbe-ebaf486b18a5" providerId="AD" clId="Web-{4940B4D7-2266-7980-BA0B-0176BCEFEDA5}" dt="2021-09-02T19:36:10.328" v="2"/>
          <ac:spMkLst>
            <pc:docMk/>
            <pc:sldMk cId="2242852715" sldId="257"/>
            <ac:spMk id="5" creationId="{93DA8CF5-EB5F-43D7-B113-37F99FA8D657}"/>
          </ac:spMkLst>
        </pc:spChg>
      </pc:sldChg>
    </pc:docChg>
  </pc:docChgLst>
  <pc:docChgLst>
    <pc:chgData name="Vanitha Prabhakaran" userId="S::vanithp@microsoft.com::e95eb377-dfdd-4aab-8cbe-ebaf486b18a5" providerId="AD" clId="Web-{8AF3855A-0424-96B1-B2E8-F6C5B2F6BBE0}"/>
    <pc:docChg chg="modSld">
      <pc:chgData name="Vanitha Prabhakaran" userId="S::vanithp@microsoft.com::e95eb377-dfdd-4aab-8cbe-ebaf486b18a5" providerId="AD" clId="Web-{8AF3855A-0424-96B1-B2E8-F6C5B2F6BBE0}" dt="2021-09-02T19:36:43.119" v="2"/>
      <pc:docMkLst>
        <pc:docMk/>
      </pc:docMkLst>
      <pc:sldChg chg="delSp">
        <pc:chgData name="Vanitha Prabhakaran" userId="S::vanithp@microsoft.com::e95eb377-dfdd-4aab-8cbe-ebaf486b18a5" providerId="AD" clId="Web-{8AF3855A-0424-96B1-B2E8-F6C5B2F6BBE0}" dt="2021-09-02T19:36:43.119" v="2"/>
        <pc:sldMkLst>
          <pc:docMk/>
          <pc:sldMk cId="2242852715" sldId="257"/>
        </pc:sldMkLst>
        <pc:spChg chg="del">
          <ac:chgData name="Vanitha Prabhakaran" userId="S::vanithp@microsoft.com::e95eb377-dfdd-4aab-8cbe-ebaf486b18a5" providerId="AD" clId="Web-{8AF3855A-0424-96B1-B2E8-F6C5B2F6BBE0}" dt="2021-09-02T19:36:39.197" v="1"/>
          <ac:spMkLst>
            <pc:docMk/>
            <pc:sldMk cId="2242852715" sldId="257"/>
            <ac:spMk id="3" creationId="{743C3B0A-A836-439B-950C-1AAD5DB5CA53}"/>
          </ac:spMkLst>
        </pc:spChg>
        <pc:spChg chg="del">
          <ac:chgData name="Vanitha Prabhakaran" userId="S::vanithp@microsoft.com::e95eb377-dfdd-4aab-8cbe-ebaf486b18a5" providerId="AD" clId="Web-{8AF3855A-0424-96B1-B2E8-F6C5B2F6BBE0}" dt="2021-09-02T19:36:34.713" v="0"/>
          <ac:spMkLst>
            <pc:docMk/>
            <pc:sldMk cId="2242852715" sldId="257"/>
            <ac:spMk id="4" creationId="{49858A07-02B4-4F10-A82B-C6EA5A0D5BB2}"/>
          </ac:spMkLst>
        </pc:spChg>
        <pc:spChg chg="del">
          <ac:chgData name="Vanitha Prabhakaran" userId="S::vanithp@microsoft.com::e95eb377-dfdd-4aab-8cbe-ebaf486b18a5" providerId="AD" clId="Web-{8AF3855A-0424-96B1-B2E8-F6C5B2F6BBE0}" dt="2021-09-02T19:36:43.119" v="2"/>
          <ac:spMkLst>
            <pc:docMk/>
            <pc:sldMk cId="2242852715" sldId="257"/>
            <ac:spMk id="5" creationId="{93DA8CF5-EB5F-43D7-B113-37F99FA8D657}"/>
          </ac:spMkLst>
        </pc:spChg>
      </pc:sldChg>
    </pc:docChg>
  </pc:docChgLst>
  <pc:docChgLst>
    <pc:chgData name="Murat Odabasi" userId="d77b5acb-2443-4df7-b8cb-ac216c1fac5a" providerId="ADAL" clId="{B327EA4A-CBEC-4A46-BA89-2592CC7F0EE9}"/>
    <pc:docChg chg="custSel modMainMaster">
      <pc:chgData name="Murat Odabasi" userId="d77b5acb-2443-4df7-b8cb-ac216c1fac5a" providerId="ADAL" clId="{B327EA4A-CBEC-4A46-BA89-2592CC7F0EE9}" dt="2020-05-20T13:35:17.607" v="5" actId="20577"/>
      <pc:docMkLst>
        <pc:docMk/>
      </pc:docMkLst>
      <pc:sldMasterChg chg="modSldLayout">
        <pc:chgData name="Murat Odabasi" userId="d77b5acb-2443-4df7-b8cb-ac216c1fac5a" providerId="ADAL" clId="{B327EA4A-CBEC-4A46-BA89-2592CC7F0EE9}" dt="2020-05-20T13:35:17.607" v="5" actId="20577"/>
        <pc:sldMasterMkLst>
          <pc:docMk/>
          <pc:sldMasterMk cId="2960217152" sldId="2147483819"/>
        </pc:sldMasterMkLst>
        <pc:sldLayoutChg chg="modSp mod">
          <pc:chgData name="Murat Odabasi" userId="d77b5acb-2443-4df7-b8cb-ac216c1fac5a" providerId="ADAL" clId="{B327EA4A-CBEC-4A46-BA89-2592CC7F0EE9}" dt="2020-05-20T13:35:17.607" v="5" actId="20577"/>
          <pc:sldLayoutMkLst>
            <pc:docMk/>
            <pc:sldMasterMk cId="2960217152" sldId="2147483819"/>
            <pc:sldLayoutMk cId="109560292" sldId="2147483861"/>
          </pc:sldLayoutMkLst>
          <pc:spChg chg="mod">
            <ac:chgData name="Murat Odabasi" userId="d77b5acb-2443-4df7-b8cb-ac216c1fac5a" providerId="ADAL" clId="{B327EA4A-CBEC-4A46-BA89-2592CC7F0EE9}" dt="2020-05-20T13:35:17.607" v="5" actId="20577"/>
            <ac:spMkLst>
              <pc:docMk/>
              <pc:sldMasterMk cId="2960217152" sldId="2147483819"/>
              <pc:sldLayoutMk cId="109560292" sldId="2147483861"/>
              <ac:spMk id="11" creationId="{4F94614A-5991-48D1-BAE0-C77F81393F2D}"/>
            </ac:spMkLst>
          </pc:spChg>
        </pc:sldLayoutChg>
      </pc:sldMasterChg>
    </pc:docChg>
  </pc:docChgLst>
  <pc:docChgLst>
    <pc:chgData name="Suparna Banerjee" userId="b569c5e4-b71d-4cdb-9af7-1be900663e72" providerId="ADAL" clId="{8B112176-E483-44E3-9D07-F05596365046}"/>
    <pc:docChg chg="modSld">
      <pc:chgData name="Suparna Banerjee" userId="b569c5e4-b71d-4cdb-9af7-1be900663e72" providerId="ADAL" clId="{8B112176-E483-44E3-9D07-F05596365046}" dt="2022-03-18T11:37:34.214" v="5"/>
      <pc:docMkLst>
        <pc:docMk/>
      </pc:docMkLst>
      <pc:sldChg chg="modSp">
        <pc:chgData name="Suparna Banerjee" userId="b569c5e4-b71d-4cdb-9af7-1be900663e72" providerId="ADAL" clId="{8B112176-E483-44E3-9D07-F05596365046}" dt="2022-03-18T11:37:34.214" v="5"/>
        <pc:sldMkLst>
          <pc:docMk/>
          <pc:sldMk cId="521732247" sldId="2076137620"/>
        </pc:sldMkLst>
        <pc:graphicFrameChg chg="mod">
          <ac:chgData name="Suparna Banerjee" userId="b569c5e4-b71d-4cdb-9af7-1be900663e72" providerId="ADAL" clId="{8B112176-E483-44E3-9D07-F05596365046}" dt="2022-03-18T11:37:34.214" v="5"/>
          <ac:graphicFrameMkLst>
            <pc:docMk/>
            <pc:sldMk cId="521732247" sldId="2076137620"/>
            <ac:graphicFrameMk id="9" creationId="{CE702611-002E-4410-A3DA-3E6E65A7D060}"/>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3/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7631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2</a:t>
            </a:fld>
            <a:endParaRPr lang="en-US" dirty="0"/>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3/18/2022</a:t>
            </a:fld>
            <a:endParaRPr lang="en-US" dirty="0"/>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7387535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5</a:t>
            </a:fld>
            <a:endParaRPr lang="en-US" dirty="0"/>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3/18/2022</a:t>
            </a:fld>
            <a:endParaRPr lang="en-US" dirty="0"/>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729901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3/18/2022</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6130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a:t>
            </a:fld>
            <a:endParaRPr lang="en-US" dirty="0"/>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3/18/2022</a:t>
            </a:fld>
            <a:endParaRPr lang="en-US" dirty="0"/>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738753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6022407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9.png"/><Relationship Id="rId7"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1.jpeg"/><Relationship Id="rId5" Type="http://schemas.microsoft.com/office/2007/relationships/hdphoto" Target="../media/hdphoto1.wdp"/><Relationship Id="rId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2.jpe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xml"/><Relationship Id="rId4" Type="http://schemas.openxmlformats.org/officeDocument/2006/relationships/image" Target="../media/image34.jpe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94805">
                      <a:schemeClr val="tx1"/>
                    </a:gs>
                    <a:gs pos="82468">
                      <a:schemeClr val="tx1"/>
                    </a:gs>
                  </a:gsLst>
                  <a:lin ang="5400000" scaled="1"/>
                </a:gra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3730912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321569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49"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794997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781718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451803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09784" y="0"/>
            <a:ext cx="8900740"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427830" y="990191"/>
            <a:ext cx="8256175" cy="4877618"/>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email">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69610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93163337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403607531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60845811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6787577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130248558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07578159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70822896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41694"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2474535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73835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1821901"/>
            <a:ext cx="4885203" cy="3260896"/>
          </a:xfrm>
          <a:noFill/>
        </p:spPr>
        <p:txBody>
          <a:bodyPr vert="horz" wrap="square" lIns="0" tIns="0" rIns="0" bIns="0" rtlCol="0" anchor="t" anchorCtr="0">
            <a:noAutofit/>
          </a:bodyPr>
          <a:lstStyle>
            <a:lvl1pPr>
              <a:defRPr lang="en-US" sz="3920" spc="-49" baseline="0" dirty="0">
                <a:solidFill>
                  <a:schemeClr val="tx1"/>
                </a:solidFill>
                <a:latin typeface="+mn-lt"/>
              </a:defRPr>
            </a:lvl1pPr>
          </a:lstStyle>
          <a:p>
            <a:pPr marL="0" lvl="0">
              <a:lnSpc>
                <a:spcPts val="5489"/>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366641" y="-165505"/>
            <a:ext cx="7266056" cy="7733989"/>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12068647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827875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966062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4244884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05338227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81700289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50588018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30916" y="486947"/>
            <a:ext cx="10869930" cy="6371053"/>
          </a:xfrm>
          <a:prstGeom prst="rect">
            <a:avLst/>
          </a:prstGeom>
        </p:spPr>
      </p:pic>
    </p:spTree>
    <p:extLst>
      <p:ext uri="{BB962C8B-B14F-4D97-AF65-F5344CB8AC3E}">
        <p14:creationId xmlns:p14="http://schemas.microsoft.com/office/powerpoint/2010/main" val="150154176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69539911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7357515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7630603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0584"/>
          <a:stretch/>
        </p:blipFill>
        <p:spPr>
          <a:xfrm>
            <a:off x="274249" y="257170"/>
            <a:ext cx="1119930" cy="569191"/>
          </a:xfrm>
          <a:prstGeom prst="rect">
            <a:avLst/>
          </a:prstGeom>
        </p:spPr>
      </p:pic>
    </p:spTree>
    <p:extLst>
      <p:ext uri="{BB962C8B-B14F-4D97-AF65-F5344CB8AC3E}">
        <p14:creationId xmlns:p14="http://schemas.microsoft.com/office/powerpoint/2010/main" val="1464821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7750630" y="4359729"/>
            <a:ext cx="4441370" cy="2498271"/>
          </a:xfrm>
          <a:prstGeom prst="rect">
            <a:avLst/>
          </a:prstGeom>
        </p:spPr>
      </p:pic>
      <p:sp>
        <p:nvSpPr>
          <p:cNvPr id="2" name="Title 1"/>
          <p:cNvSpPr>
            <a:spLocks noGrp="1"/>
          </p:cNvSpPr>
          <p:nvPr>
            <p:ph type="title"/>
          </p:nvPr>
        </p:nvSpPr>
        <p:spPr>
          <a:xfrm>
            <a:off x="269240" y="289513"/>
            <a:ext cx="11495723" cy="904289"/>
          </a:xfrm>
        </p:spPr>
        <p:txBody>
          <a:bodyPr/>
          <a:lstStyle>
            <a:lvl1pPr algn="l" defTabSz="914016" rtl="0" eaLnBrk="1" latinLnBrk="0" hangingPunct="1">
              <a:lnSpc>
                <a:spcPct val="90000"/>
              </a:lnSpc>
              <a:spcBef>
                <a:spcPct val="0"/>
              </a:spcBef>
              <a:buNone/>
              <a:defRPr lang="en-US" sz="3200" b="0" kern="1200" cap="none" spc="-100"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384711821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994815568"/>
      </p:ext>
    </p:extLst>
  </p:cSld>
  <p:clrMapOvr>
    <a:masterClrMapping/>
  </p:clrMapOvr>
  <p:transition>
    <p:fade/>
  </p:transition>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7" y="1922804"/>
            <a:ext cx="4758211" cy="543097"/>
          </a:xfrm>
        </p:spPr>
        <p:txBody>
          <a:bodyPr wrap="square" lIns="0" tIns="0" rIns="0" bIns="0">
            <a:spAutoFit/>
          </a:bodyPr>
          <a:lstStyle>
            <a:lvl1pPr marL="0" indent="0">
              <a:lnSpc>
                <a:spcPct val="90000"/>
              </a:lnSpc>
              <a:spcAft>
                <a:spcPts val="1200"/>
              </a:spcAft>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034912"/>
      </p:ext>
    </p:extLst>
  </p:cSld>
  <p:clrMapOvr>
    <a:masterClrMapping/>
  </p:clrMapOvr>
  <p:transition>
    <p:fade/>
  </p:transition>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32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367166" y="6561764"/>
            <a:ext cx="555596" cy="134483"/>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48212" y="6561764"/>
            <a:ext cx="3859607" cy="134483"/>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172893029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495723" cy="818703"/>
          </a:xfrm>
        </p:spPr>
        <p:txBody>
          <a:bodyPr/>
          <a:lstStyle>
            <a:lvl1pPr>
              <a:defRPr lang="en-US" sz="3200" b="0" kern="1200" cap="none" spc="-10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69240" y="1086665"/>
            <a:ext cx="11495723" cy="430901"/>
          </a:xfrm>
        </p:spPr>
        <p:txBody>
          <a:bodyPr tIns="0" bIns="0" anchor="ctr">
            <a:spAutoFit/>
          </a:bodyPr>
          <a:lstStyle>
            <a:lvl1pPr marL="0" indent="0">
              <a:buNone/>
              <a:defRPr sz="2800"/>
            </a:lvl1pPr>
            <a:lvl2pPr>
              <a:defRPr sz="1765"/>
            </a:lvl2pPr>
            <a:lvl3pPr>
              <a:defRPr sz="1567"/>
            </a:lvl3pPr>
            <a:lvl4pPr>
              <a:defRPr sz="1370"/>
            </a:lvl4pPr>
            <a:lvl5pPr>
              <a:defRPr sz="1370"/>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37468664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4242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60123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3669355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80" y="228603"/>
            <a:ext cx="11296416" cy="656655"/>
          </a:xfrm>
        </p:spPr>
        <p:txBody>
          <a:bodyPr/>
          <a:lstStyle>
            <a:lvl1pPr marL="0" indent="0">
              <a:buFont typeface="Wingdings" panose="05000000000000000000" pitchFamily="2" charset="2"/>
              <a:buNone/>
              <a:defRPr sz="4266"/>
            </a:lvl1pPr>
          </a:lstStyle>
          <a:p>
            <a:r>
              <a:rPr lang="en-US"/>
              <a:t>Click to edit Master title style</a:t>
            </a:r>
          </a:p>
        </p:txBody>
      </p:sp>
      <p:sp>
        <p:nvSpPr>
          <p:cNvPr id="3" name="Text Placeholder 2"/>
          <p:cNvSpPr>
            <a:spLocks noGrp="1"/>
          </p:cNvSpPr>
          <p:nvPr>
            <p:ph type="body" sz="quarter" idx="10"/>
          </p:nvPr>
        </p:nvSpPr>
        <p:spPr>
          <a:xfrm>
            <a:off x="584200" y="1435499"/>
            <a:ext cx="11018520" cy="1612749"/>
          </a:xfrm>
        </p:spPr>
        <p:txBody>
          <a:bodyPr/>
          <a:lstStyle>
            <a:lvl1pPr marL="228550" indent="-228550">
              <a:buFont typeface="Wingdings" panose="05000000000000000000" pitchFamily="2" charset="2"/>
              <a:buChar char="§"/>
              <a:defRPr/>
            </a:lvl1pPr>
            <a:lvl2pPr marL="457101" indent="-228550">
              <a:buFont typeface="Wingdings" panose="05000000000000000000" pitchFamily="2" charset="2"/>
              <a:buChar char="§"/>
              <a:defRPr/>
            </a:lvl2pPr>
            <a:lvl3pPr marL="657082" indent="-199981">
              <a:buFont typeface="Wingdings" panose="05000000000000000000" pitchFamily="2" charset="2"/>
              <a:buChar char="§"/>
              <a:defRPr/>
            </a:lvl3pPr>
            <a:lvl4pPr marL="842781" indent="-180935">
              <a:buFont typeface="Wingdings" panose="05000000000000000000" pitchFamily="2" charset="2"/>
              <a:buChar char="§"/>
              <a:defRPr/>
            </a:lvl4pPr>
            <a:lvl5pPr marL="1023717" indent="-168238">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2533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55088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60674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1"/>
            <a:ext cx="7254865" cy="543185"/>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409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613496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32014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6"/>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6"/>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3"/>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3" y="1700067"/>
            <a:ext cx="3556129" cy="770920"/>
          </a:xfrm>
        </p:spPr>
        <p:txBody>
          <a:bodyPr wrap="square" lIns="0" tIns="0" rIns="0" bIns="0">
            <a:noAutofit/>
          </a:bodyPr>
          <a:lstStyle>
            <a:lvl1pPr marL="0" marR="0" indent="0" algn="l" defTabSz="914192"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99808007"/>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434114265"/>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102393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53168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3"/>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2" cy="136396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Tree>
    <p:extLst>
      <p:ext uri="{BB962C8B-B14F-4D97-AF65-F5344CB8AC3E}">
        <p14:creationId xmlns:p14="http://schemas.microsoft.com/office/powerpoint/2010/main" val="204516657"/>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56907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58870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4123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2284251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47" Type="http://schemas.openxmlformats.org/officeDocument/2006/relationships/slideLayout" Target="../slideLayouts/slideLayout92.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9" Type="http://schemas.openxmlformats.org/officeDocument/2006/relationships/slideLayout" Target="../slideLayouts/slideLayout74.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slideLayout" Target="../slideLayouts/slideLayout90.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49" Type="http://schemas.openxmlformats.org/officeDocument/2006/relationships/image" Target="../media/image4.png"/><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slideLayout" Target="../slideLayouts/slideLayout89.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 Id="rId48" Type="http://schemas.openxmlformats.org/officeDocument/2006/relationships/theme" Target="../theme/theme2.xml"/><Relationship Id="rId8" Type="http://schemas.openxmlformats.org/officeDocument/2006/relationships/slideLayout" Target="../slideLayouts/slideLayout53.xml"/><Relationship Id="rId3" Type="http://schemas.openxmlformats.org/officeDocument/2006/relationships/slideLayout" Target="../slideLayouts/slideLayout48.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slideLayout" Target="../slideLayouts/slideLayout91.xml"/><Relationship Id="rId20" Type="http://schemas.openxmlformats.org/officeDocument/2006/relationships/slideLayout" Target="../slideLayouts/slideLayout65.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83" r:id="rId45"/>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9"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17808967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 id="2147484061" r:id="rId26"/>
    <p:sldLayoutId id="2147484062" r:id="rId27"/>
    <p:sldLayoutId id="2147484063" r:id="rId28"/>
    <p:sldLayoutId id="2147484064" r:id="rId29"/>
    <p:sldLayoutId id="2147484065" r:id="rId30"/>
    <p:sldLayoutId id="2147484066" r:id="rId31"/>
    <p:sldLayoutId id="2147484067" r:id="rId32"/>
    <p:sldLayoutId id="2147484068" r:id="rId33"/>
    <p:sldLayoutId id="2147484069" r:id="rId34"/>
    <p:sldLayoutId id="2147484070" r:id="rId35"/>
    <p:sldLayoutId id="2147484071" r:id="rId36"/>
    <p:sldLayoutId id="2147484072" r:id="rId37"/>
    <p:sldLayoutId id="2147484073" r:id="rId38"/>
    <p:sldLayoutId id="2147484074" r:id="rId39"/>
    <p:sldLayoutId id="2147484075" r:id="rId40"/>
    <p:sldLayoutId id="2147484076" r:id="rId41"/>
    <p:sldLayoutId id="2147484077" r:id="rId42"/>
    <p:sldLayoutId id="2147484078" r:id="rId43"/>
    <p:sldLayoutId id="2147484079" r:id="rId44"/>
    <p:sldLayoutId id="2147484080" r:id="rId45"/>
    <p:sldLayoutId id="2147484081" r:id="rId46"/>
    <p:sldLayoutId id="2147484082" r:id="rId47"/>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xml"/><Relationship Id="rId1" Type="http://schemas.openxmlformats.org/officeDocument/2006/relationships/slideLayout" Target="../slideLayouts/slideLayout9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13.xml"/><Relationship Id="rId4" Type="http://schemas.openxmlformats.org/officeDocument/2006/relationships/hyperlink" Target="http://aka.ms/platformlimits"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40.xml"/><Relationship Id="rId1" Type="http://schemas.openxmlformats.org/officeDocument/2006/relationships/tags" Target="../tags/tag15.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1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7.xml"/><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3.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39.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7.xml"/><Relationship Id="rId4" Type="http://schemas.openxmlformats.org/officeDocument/2006/relationships/hyperlink" Target="http://aka.ms/platformlimits"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hyperlink" Target="http://aka.ms/platformlimits" TargetMode="External"/><Relationship Id="rId5" Type="http://schemas.openxmlformats.org/officeDocument/2006/relationships/hyperlink" Target="https://flow.microsoft.com/en-us/connectors/?filter=&amp;category=premium" TargetMode="External"/><Relationship Id="rId4" Type="http://schemas.openxmlformats.org/officeDocument/2006/relationships/hyperlink" Target="https://flow.microsoft.com/en-us/connectors/?filter=&amp;category=standard"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11.xml"/><Relationship Id="rId4" Type="http://schemas.openxmlformats.org/officeDocument/2006/relationships/hyperlink" Target="http://aka.ms/platformlimit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2.xml"/><Relationship Id="rId6" Type="http://schemas.openxmlformats.org/officeDocument/2006/relationships/hyperlink" Target="http://aka.ms/platformlimits" TargetMode="External"/><Relationship Id="rId5" Type="http://schemas.openxmlformats.org/officeDocument/2006/relationships/hyperlink" Target="https://flow.microsoft.com/en-us/connectors/?filter=&amp;category=premium" TargetMode="External"/><Relationship Id="rId4" Type="http://schemas.openxmlformats.org/officeDocument/2006/relationships/hyperlink" Target="https://flow.microsoft.com/en-us/connectors/?filter=&amp;category=standar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Diamond 19">
            <a:extLst>
              <a:ext uri="{FF2B5EF4-FFF2-40B4-BE49-F238E27FC236}">
                <a16:creationId xmlns:a16="http://schemas.microsoft.com/office/drawing/2014/main" id="{2AC56785-D94E-4935-A7F4-E098E54AD388}"/>
              </a:ext>
            </a:extLst>
          </p:cNvPr>
          <p:cNvSpPr/>
          <p:nvPr/>
        </p:nvSpPr>
        <p:spPr bwMode="auto">
          <a:xfrm>
            <a:off x="7784538" y="998207"/>
            <a:ext cx="6520864" cy="6520864"/>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1" name="Diamond 20">
            <a:extLst>
              <a:ext uri="{FF2B5EF4-FFF2-40B4-BE49-F238E27FC236}">
                <a16:creationId xmlns:a16="http://schemas.microsoft.com/office/drawing/2014/main" id="{9BEF1953-B1CB-4BD3-9B40-AF9D3418CD6F}"/>
              </a:ext>
            </a:extLst>
          </p:cNvPr>
          <p:cNvSpPr/>
          <p:nvPr/>
        </p:nvSpPr>
        <p:spPr bwMode="auto">
          <a:xfrm>
            <a:off x="8655956" y="431352"/>
            <a:ext cx="3548744" cy="3548744"/>
          </a:xfrm>
          <a:prstGeom prst="diamond">
            <a:avLst/>
          </a:prstGeom>
          <a:solidFill>
            <a:schemeClr val="bg1"/>
          </a:solid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55" name="Picture 54">
            <a:extLst>
              <a:ext uri="{FF2B5EF4-FFF2-40B4-BE49-F238E27FC236}">
                <a16:creationId xmlns:a16="http://schemas.microsoft.com/office/drawing/2014/main" id="{7EA4A0A8-43AA-4FB9-8228-008D5E13959F}"/>
              </a:ext>
            </a:extLst>
          </p:cNvPr>
          <p:cNvPicPr>
            <a:picLocks noChangeAspect="1"/>
          </p:cNvPicPr>
          <p:nvPr/>
        </p:nvPicPr>
        <p:blipFill rotWithShape="1">
          <a:blip r:embed="rId3"/>
          <a:srcRect l="45535" t="55516" r="9323"/>
          <a:stretch/>
        </p:blipFill>
        <p:spPr>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111706">
                <a:moveTo>
                  <a:pt x="2370014" y="0"/>
                </a:moveTo>
                <a:lnTo>
                  <a:pt x="4740028" y="2370014"/>
                </a:lnTo>
                <a:lnTo>
                  <a:pt x="3998336" y="3111706"/>
                </a:lnTo>
                <a:lnTo>
                  <a:pt x="741692" y="3111706"/>
                </a:lnTo>
                <a:lnTo>
                  <a:pt x="0" y="2370014"/>
                </a:lnTo>
                <a:close/>
              </a:path>
            </a:pathLst>
          </a:custGeom>
        </p:spPr>
      </p:pic>
      <p:pic>
        <p:nvPicPr>
          <p:cNvPr id="53" name="Picture 52">
            <a:extLst>
              <a:ext uri="{FF2B5EF4-FFF2-40B4-BE49-F238E27FC236}">
                <a16:creationId xmlns:a16="http://schemas.microsoft.com/office/drawing/2014/main" id="{5037E5F7-E27F-4B6E-82AE-3843F8865266}"/>
              </a:ext>
            </a:extLst>
          </p:cNvPr>
          <p:cNvPicPr>
            <a:picLocks noChangeAspect="1"/>
          </p:cNvPicPr>
          <p:nvPr/>
        </p:nvPicPr>
        <p:blipFill rotWithShape="1">
          <a:blip r:embed="rId3"/>
          <a:srcRect l="45535" t="1961" r="9323" b="45906"/>
          <a:stretch/>
        </p:blipFill>
        <p:spPr>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646830">
                <a:moveTo>
                  <a:pt x="1276816" y="0"/>
                </a:moveTo>
                <a:lnTo>
                  <a:pt x="3463212" y="0"/>
                </a:lnTo>
                <a:lnTo>
                  <a:pt x="4740028" y="1276816"/>
                </a:lnTo>
                <a:lnTo>
                  <a:pt x="2370014" y="3646830"/>
                </a:lnTo>
                <a:lnTo>
                  <a:pt x="0" y="1276816"/>
                </a:lnTo>
                <a:close/>
              </a:path>
            </a:pathLst>
          </a:custGeom>
        </p:spPr>
      </p:pic>
      <p:pic>
        <p:nvPicPr>
          <p:cNvPr id="51" name="Picture 50">
            <a:extLst>
              <a:ext uri="{FF2B5EF4-FFF2-40B4-BE49-F238E27FC236}">
                <a16:creationId xmlns:a16="http://schemas.microsoft.com/office/drawing/2014/main" id="{873FB677-0806-4865-8356-7D4ECCAB4A33}"/>
              </a:ext>
            </a:extLst>
          </p:cNvPr>
          <p:cNvPicPr>
            <a:picLocks noChangeAspect="1"/>
          </p:cNvPicPr>
          <p:nvPr/>
        </p:nvPicPr>
        <p:blipFill rotWithShape="1">
          <a:blip r:embed="rId3"/>
          <a:srcRect l="22557" t="20909" r="32301" b="11329"/>
          <a:stretch/>
        </p:blipFill>
        <p:spPr>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Lst>
            <a:ahLst/>
            <a:cxnLst>
              <a:cxn ang="0">
                <a:pos x="connsiteX0" y="connsiteY0"/>
              </a:cxn>
              <a:cxn ang="0">
                <a:pos x="connsiteX1" y="connsiteY1"/>
              </a:cxn>
              <a:cxn ang="0">
                <a:pos x="connsiteX2" y="connsiteY2"/>
              </a:cxn>
              <a:cxn ang="0">
                <a:pos x="connsiteX3" y="connsiteY3"/>
              </a:cxn>
            </a:cxnLst>
            <a:rect l="l" t="t" r="r" b="b"/>
            <a:pathLst>
              <a:path w="4740028" h="4740028">
                <a:moveTo>
                  <a:pt x="2370014" y="0"/>
                </a:moveTo>
                <a:lnTo>
                  <a:pt x="4740028" y="2370014"/>
                </a:lnTo>
                <a:lnTo>
                  <a:pt x="2370014" y="4740028"/>
                </a:lnTo>
                <a:lnTo>
                  <a:pt x="0" y="2370014"/>
                </a:lnTo>
                <a:close/>
              </a:path>
            </a:pathLst>
          </a:custGeom>
        </p:spPr>
      </p:pic>
      <p:sp>
        <p:nvSpPr>
          <p:cNvPr id="23" name="Freeform: Shape 22">
            <a:extLst>
              <a:ext uri="{FF2B5EF4-FFF2-40B4-BE49-F238E27FC236}">
                <a16:creationId xmlns:a16="http://schemas.microsoft.com/office/drawing/2014/main" id="{2A0C9362-97EF-47D6-8355-DB58059260F4}"/>
              </a:ext>
            </a:extLst>
          </p:cNvPr>
          <p:cNvSpPr/>
          <p:nvPr/>
        </p:nvSpPr>
        <p:spPr bwMode="auto">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6" name="Title 7">
            <a:extLst>
              <a:ext uri="{FF2B5EF4-FFF2-40B4-BE49-F238E27FC236}">
                <a16:creationId xmlns:a16="http://schemas.microsoft.com/office/drawing/2014/main" id="{F5DA9B90-3150-4081-97B3-AB4410A435E7}"/>
              </a:ext>
            </a:extLst>
          </p:cNvPr>
          <p:cNvSpPr>
            <a:spLocks noGrp="1"/>
          </p:cNvSpPr>
          <p:nvPr>
            <p:ph type="title"/>
          </p:nvPr>
        </p:nvSpPr>
        <p:spPr>
          <a:xfrm>
            <a:off x="469654" y="2211388"/>
            <a:ext cx="7163186" cy="1996870"/>
          </a:xfrm>
        </p:spPr>
        <p:txBody>
          <a:bodyPr anchor="b"/>
          <a:lstStyle/>
          <a:p>
            <a:pPr>
              <a:lnSpc>
                <a:spcPct val="100000"/>
              </a:lnSpc>
              <a:spcAft>
                <a:spcPts val="600"/>
              </a:spcAft>
            </a:pPr>
            <a:r>
              <a:rPr lang="en-US" sz="3200" dirty="0">
                <a:cs typeface="Segoe UI"/>
              </a:rPr>
              <a:t>Power Platform Governance</a:t>
            </a:r>
            <a:br>
              <a:rPr lang="en-US" sz="3200" dirty="0">
                <a:cs typeface="Segoe UI"/>
              </a:rPr>
            </a:br>
            <a:r>
              <a:rPr lang="en-US" sz="3200" dirty="0" err="1">
                <a:cs typeface="Segoe UI"/>
              </a:rPr>
              <a:t>CoE</a:t>
            </a:r>
            <a:r>
              <a:rPr lang="en-US" sz="3200" dirty="0">
                <a:cs typeface="Segoe UI"/>
              </a:rPr>
              <a:t> License Requirements</a:t>
            </a:r>
            <a:endParaRPr lang="en-IN" sz="3200" dirty="0"/>
          </a:p>
        </p:txBody>
      </p:sp>
      <p:sp>
        <p:nvSpPr>
          <p:cNvPr id="28" name="Freeform: Shape 27">
            <a:extLst>
              <a:ext uri="{FF2B5EF4-FFF2-40B4-BE49-F238E27FC236}">
                <a16:creationId xmlns:a16="http://schemas.microsoft.com/office/drawing/2014/main" id="{DEA6659A-E55D-4B17-A16E-E348B83981E5}"/>
              </a:ext>
            </a:extLst>
          </p:cNvPr>
          <p:cNvSpPr/>
          <p:nvPr/>
        </p:nvSpPr>
        <p:spPr bwMode="auto">
          <a:xfrm>
            <a:off x="7641810" y="1394460"/>
            <a:ext cx="4602064" cy="4602064"/>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7AB564CF-43ED-4181-8F12-E40A66325559}"/>
              </a:ext>
            </a:extLst>
          </p:cNvPr>
          <p:cNvSpPr/>
          <p:nvPr/>
        </p:nvSpPr>
        <p:spPr bwMode="auto">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 name="connsiteX5" fmla="*/ 1276816 w 4740028"/>
              <a:gd name="connsiteY5" fmla="*/ 0 h 36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646830">
                <a:moveTo>
                  <a:pt x="1276816" y="0"/>
                </a:moveTo>
                <a:lnTo>
                  <a:pt x="3463212" y="0"/>
                </a:lnTo>
                <a:lnTo>
                  <a:pt x="4740028" y="1276816"/>
                </a:lnTo>
                <a:lnTo>
                  <a:pt x="2370014" y="3646830"/>
                </a:lnTo>
                <a:lnTo>
                  <a:pt x="0" y="1276816"/>
                </a:lnTo>
                <a:lnTo>
                  <a:pt x="1276816"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A2C8FA4E-E27F-42B2-B01C-CF76FB37247D}"/>
              </a:ext>
            </a:extLst>
          </p:cNvPr>
          <p:cNvSpPr/>
          <p:nvPr/>
        </p:nvSpPr>
        <p:spPr bwMode="auto">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 name="connsiteX5" fmla="*/ 2370014 w 4740028"/>
              <a:gd name="connsiteY5" fmla="*/ 0 h 311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111706">
                <a:moveTo>
                  <a:pt x="2370014" y="0"/>
                </a:moveTo>
                <a:lnTo>
                  <a:pt x="4740028" y="2370014"/>
                </a:lnTo>
                <a:lnTo>
                  <a:pt x="3998336" y="3111706"/>
                </a:lnTo>
                <a:lnTo>
                  <a:pt x="741692" y="3111706"/>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C94EC53D-9146-488E-BB16-3CD30529877F}"/>
              </a:ext>
            </a:extLst>
          </p:cNvPr>
          <p:cNvGrpSpPr/>
          <p:nvPr/>
        </p:nvGrpSpPr>
        <p:grpSpPr>
          <a:xfrm>
            <a:off x="-978357" y="5163228"/>
            <a:ext cx="2894839" cy="2802170"/>
            <a:chOff x="-978357" y="5163228"/>
            <a:chExt cx="2894839" cy="2802170"/>
          </a:xfrm>
        </p:grpSpPr>
        <p:sp>
          <p:nvSpPr>
            <p:cNvPr id="32" name="Diamond 31">
              <a:extLst>
                <a:ext uri="{FF2B5EF4-FFF2-40B4-BE49-F238E27FC236}">
                  <a16:creationId xmlns:a16="http://schemas.microsoft.com/office/drawing/2014/main" id="{FEF857BD-B91B-4A94-8466-7342E31072CA}"/>
                </a:ext>
              </a:extLst>
            </p:cNvPr>
            <p:cNvSpPr/>
            <p:nvPr/>
          </p:nvSpPr>
          <p:spPr bwMode="auto">
            <a:xfrm>
              <a:off x="-978357" y="5163228"/>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D568CD7F-2B57-4BF9-A1F5-363B702119C7}"/>
                </a:ext>
              </a:extLst>
            </p:cNvPr>
            <p:cNvSpPr/>
            <p:nvPr/>
          </p:nvSpPr>
          <p:spPr bwMode="auto">
            <a:xfrm>
              <a:off x="1205090" y="6412746"/>
              <a:ext cx="711392" cy="445254"/>
            </a:xfrm>
            <a:custGeom>
              <a:avLst/>
              <a:gdLst>
                <a:gd name="connsiteX0" fmla="*/ 355696 w 711392"/>
                <a:gd name="connsiteY0" fmla="*/ 0 h 445254"/>
                <a:gd name="connsiteX1" fmla="*/ 711392 w 711392"/>
                <a:gd name="connsiteY1" fmla="*/ 355696 h 445254"/>
                <a:gd name="connsiteX2" fmla="*/ 621834 w 711392"/>
                <a:gd name="connsiteY2" fmla="*/ 445254 h 445254"/>
                <a:gd name="connsiteX3" fmla="*/ 89558 w 711392"/>
                <a:gd name="connsiteY3" fmla="*/ 445254 h 445254"/>
                <a:gd name="connsiteX4" fmla="*/ 0 w 711392"/>
                <a:gd name="connsiteY4" fmla="*/ 355696 h 44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392" h="445254">
                  <a:moveTo>
                    <a:pt x="355696" y="0"/>
                  </a:moveTo>
                  <a:lnTo>
                    <a:pt x="711392" y="355696"/>
                  </a:lnTo>
                  <a:lnTo>
                    <a:pt x="621834" y="445254"/>
                  </a:lnTo>
                  <a:lnTo>
                    <a:pt x="89558" y="445254"/>
                  </a:lnTo>
                  <a:lnTo>
                    <a:pt x="0" y="355696"/>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2" name="Ellipse 1">
            <a:extLst>
              <a:ext uri="{FF2B5EF4-FFF2-40B4-BE49-F238E27FC236}">
                <a16:creationId xmlns:a16="http://schemas.microsoft.com/office/drawing/2014/main" id="{D55A7717-C22C-4E08-9A06-E88D57BAE338}"/>
              </a:ext>
            </a:extLst>
          </p:cNvPr>
          <p:cNvSpPr/>
          <p:nvPr/>
        </p:nvSpPr>
        <p:spPr bwMode="auto">
          <a:xfrm>
            <a:off x="623577" y="4818897"/>
            <a:ext cx="1061799" cy="1040532"/>
          </a:xfrm>
          <a:prstGeom prst="ellipse">
            <a:avLst/>
          </a:prstGeom>
          <a:gradFill flip="none" rotWithShape="1">
            <a:gsLst>
              <a:gs pos="0">
                <a:srgbClr val="DF82C5"/>
              </a:gs>
              <a:gs pos="0">
                <a:srgbClr val="30E5D0"/>
              </a:gs>
              <a:gs pos="100000">
                <a:schemeClr val="accent6"/>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Ellipse 2">
            <a:extLst>
              <a:ext uri="{FF2B5EF4-FFF2-40B4-BE49-F238E27FC236}">
                <a16:creationId xmlns:a16="http://schemas.microsoft.com/office/drawing/2014/main" id="{A7AF8EBB-5FDD-4F69-BFE1-5E6EB5B5D221}"/>
              </a:ext>
            </a:extLst>
          </p:cNvPr>
          <p:cNvSpPr/>
          <p:nvPr/>
        </p:nvSpPr>
        <p:spPr bwMode="auto">
          <a:xfrm>
            <a:off x="491824" y="4974196"/>
            <a:ext cx="1112961" cy="1090669"/>
          </a:xfrm>
          <a:prstGeom prst="ellipse">
            <a:avLst/>
          </a:prstGeom>
          <a:gradFill flip="none" rotWithShape="1">
            <a:gsLst>
              <a:gs pos="0">
                <a:srgbClr val="0B9987">
                  <a:alpha val="60000"/>
                </a:srgbClr>
              </a:gs>
              <a:gs pos="100000">
                <a:schemeClr val="accent5"/>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7205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Power Apps and Automate capacity add-on</a:t>
            </a:r>
          </a:p>
        </p:txBody>
      </p:sp>
      <p:graphicFrame>
        <p:nvGraphicFramePr>
          <p:cNvPr id="4" name="Table 3">
            <a:extLst>
              <a:ext uri="{FF2B5EF4-FFF2-40B4-BE49-F238E27FC236}">
                <a16:creationId xmlns:a16="http://schemas.microsoft.com/office/drawing/2014/main" id="{7839DED5-F55A-4BE4-9D10-980E0D2A36B7}"/>
              </a:ext>
            </a:extLst>
          </p:cNvPr>
          <p:cNvGraphicFramePr>
            <a:graphicFrameLocks noGrp="1"/>
          </p:cNvGraphicFramePr>
          <p:nvPr>
            <p:extLst>
              <p:ext uri="{D42A27DB-BD31-4B8C-83A1-F6EECF244321}">
                <p14:modId xmlns:p14="http://schemas.microsoft.com/office/powerpoint/2010/main" val="1106787501"/>
              </p:ext>
            </p:extLst>
          </p:nvPr>
        </p:nvGraphicFramePr>
        <p:xfrm>
          <a:off x="529102" y="3331826"/>
          <a:ext cx="10801919" cy="2173116"/>
        </p:xfrm>
        <a:graphic>
          <a:graphicData uri="http://schemas.openxmlformats.org/drawingml/2006/table">
            <a:tbl>
              <a:tblPr firstRow="1" bandRow="1">
                <a:effectLst/>
              </a:tblPr>
              <a:tblGrid>
                <a:gridCol w="3755229">
                  <a:extLst>
                    <a:ext uri="{9D8B030D-6E8A-4147-A177-3AD203B41FA5}">
                      <a16:colId xmlns:a16="http://schemas.microsoft.com/office/drawing/2014/main" val="3994979072"/>
                    </a:ext>
                  </a:extLst>
                </a:gridCol>
                <a:gridCol w="7046690">
                  <a:extLst>
                    <a:ext uri="{9D8B030D-6E8A-4147-A177-3AD203B41FA5}">
                      <a16:colId xmlns:a16="http://schemas.microsoft.com/office/drawing/2014/main" val="2640365796"/>
                    </a:ext>
                  </a:extLst>
                </a:gridCol>
              </a:tblGrid>
              <a:tr h="356794">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r>
                        <a:rPr lang="en-US" sz="1800" b="0" kern="1200" dirty="0">
                          <a:solidFill>
                            <a:schemeClr val="bg1"/>
                          </a:solidFill>
                          <a:latin typeface="Segoe UI Semibold"/>
                          <a:cs typeface="Segoe UI Semibold"/>
                        </a:rPr>
                        <a:t>Offer Details</a:t>
                      </a:r>
                    </a:p>
                  </a:txBody>
                  <a:tcPr marL="87868" marR="87868" marT="43933" marB="43933" anchor="ctr">
                    <a:lnL w="19050" cap="flat" cmpd="sng" algn="ctr">
                      <a:noFill/>
                      <a:prstDash val="solid"/>
                      <a:round/>
                      <a:headEnd type="none" w="med" len="med"/>
                      <a:tailEnd type="none" w="med" len="med"/>
                    </a:lnL>
                    <a:lnR w="19050" cap="flat" cmpd="sng" algn="ctr">
                      <a:solidFill>
                        <a:srgbClr val="737373"/>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endParaRPr lang="en-US" sz="1600"/>
                    </a:p>
                  </a:txBody>
                  <a:tcPr/>
                </a:tc>
                <a:extLst>
                  <a:ext uri="{0D108BD9-81ED-4DB2-BD59-A6C34878D82A}">
                    <a16:rowId xmlns:a16="http://schemas.microsoft.com/office/drawing/2014/main" val="99048358"/>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Offer name</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chemeClr val="tx1"/>
                          </a:solidFill>
                        </a:rPr>
                        <a:t>Power Apps and Power Automate capacity add-on</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0578892"/>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License type</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u="none">
                          <a:solidFill>
                            <a:srgbClr val="002060"/>
                          </a:solidFill>
                          <a:latin typeface="+mj-lt"/>
                        </a:rPr>
                        <a:t>Dedicated</a:t>
                      </a:r>
                      <a:r>
                        <a:rPr lang="en-US" sz="1800">
                          <a:solidFill>
                            <a:schemeClr val="tx1"/>
                          </a:solidFill>
                        </a:rPr>
                        <a:t> capacity per user/flow</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290498"/>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Pricing</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chemeClr val="tx1"/>
                          </a:solidFill>
                        </a:rPr>
                        <a:t>$50 per unit per month</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951216"/>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Unit capacity</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rtl="0" eaLnBrk="1" fontAlgn="auto" latinLnBrk="0" hangingPunct="1">
                        <a:lnSpc>
                          <a:spcPct val="100000"/>
                        </a:lnSpc>
                        <a:spcBef>
                          <a:spcPts val="0"/>
                        </a:spcBef>
                        <a:spcAft>
                          <a:spcPts val="0"/>
                        </a:spcAft>
                        <a:buClrTx/>
                        <a:buSzTx/>
                        <a:buFontTx/>
                        <a:buNone/>
                      </a:pPr>
                      <a:r>
                        <a:rPr lang="en-US" sz="1800">
                          <a:solidFill>
                            <a:schemeClr val="tx1"/>
                          </a:solidFill>
                        </a:rPr>
                        <a:t>Each unit provides 10,000 daily </a:t>
                      </a:r>
                      <a:r>
                        <a:rPr lang="en-US" sz="1800" b="0">
                          <a:solidFill>
                            <a:schemeClr val="tx1"/>
                          </a:solidFill>
                        </a:rPr>
                        <a:t>Power Platform requests</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68388070"/>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Assignment of purchased capacity</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dirty="0">
                          <a:solidFill>
                            <a:schemeClr val="tx1"/>
                          </a:solidFill>
                        </a:rPr>
                        <a:t>In product</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779306"/>
                  </a:ext>
                </a:extLst>
              </a:tr>
            </a:tbl>
          </a:graphicData>
        </a:graphic>
      </p:graphicFrame>
      <p:sp>
        <p:nvSpPr>
          <p:cNvPr id="7" name="Rectangle 6">
            <a:extLst>
              <a:ext uri="{FF2B5EF4-FFF2-40B4-BE49-F238E27FC236}">
                <a16:creationId xmlns:a16="http://schemas.microsoft.com/office/drawing/2014/main" id="{2AD66F72-1AE3-4EF3-BB96-DAD7C4AC40F1}"/>
              </a:ext>
            </a:extLst>
          </p:cNvPr>
          <p:cNvSpPr>
            <a:spLocks noChangeArrowheads="1"/>
          </p:cNvSpPr>
          <p:nvPr/>
        </p:nvSpPr>
        <p:spPr bwMode="auto">
          <a:xfrm>
            <a:off x="592948" y="1199933"/>
            <a:ext cx="3223876"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77543" eaLnBrk="1" fontAlgn="base" hangingPunct="1">
              <a:spcBef>
                <a:spcPct val="0"/>
              </a:spcBef>
              <a:spcAft>
                <a:spcPct val="0"/>
              </a:spcAft>
              <a:defRPr/>
            </a:pPr>
            <a:r>
              <a:rPr lang="en-US" altLang="ko-KR" sz="1961">
                <a:solidFill>
                  <a:srgbClr val="243A5E"/>
                </a:solidFill>
                <a:latin typeface="Segoe UI Semibold" panose="020B0702040204020203" pitchFamily="34" charset="0"/>
                <a:ea typeface="Gulim" charset="-127"/>
                <a:cs typeface="Segoe UI Semibold" panose="020B0702040204020203" pitchFamily="34" charset="0"/>
              </a:rPr>
              <a:t>Overview</a:t>
            </a:r>
          </a:p>
        </p:txBody>
      </p:sp>
      <p:sp>
        <p:nvSpPr>
          <p:cNvPr id="9" name="Rectangle 8">
            <a:extLst>
              <a:ext uri="{FF2B5EF4-FFF2-40B4-BE49-F238E27FC236}">
                <a16:creationId xmlns:a16="http://schemas.microsoft.com/office/drawing/2014/main" id="{CEBF53E2-62F4-4CC9-999E-73DF9A1E5E2B}"/>
              </a:ext>
            </a:extLst>
          </p:cNvPr>
          <p:cNvSpPr/>
          <p:nvPr/>
        </p:nvSpPr>
        <p:spPr>
          <a:xfrm>
            <a:off x="592948" y="1634037"/>
            <a:ext cx="10801919" cy="1319304"/>
          </a:xfrm>
          <a:prstGeom prst="rect">
            <a:avLst/>
          </a:prstGeom>
          <a:solidFill>
            <a:srgbClr val="FFFFFF">
              <a:lumMod val="95000"/>
            </a:srgbClr>
          </a:solidFill>
        </p:spPr>
        <p:txBody>
          <a:bodyPr wrap="square" lIns="87152" tIns="37351" rIns="87152" bIns="37351" anchor="ctr">
            <a:noAutofit/>
          </a:bodyPr>
          <a:lstStyle/>
          <a:p>
            <a:pPr defTabSz="896182">
              <a:spcAft>
                <a:spcPts val="588"/>
              </a:spcAft>
              <a:defRPr/>
            </a:pPr>
            <a:r>
              <a:rPr lang="en-US" sz="1765" kern="0" dirty="0">
                <a:solidFill>
                  <a:srgbClr val="243A5E"/>
                </a:solidFill>
                <a:latin typeface="Segoe UI Semibold"/>
                <a:cs typeface="Segoe UI Semibold"/>
              </a:rPr>
              <a:t>Power Apps and Power Automate capacity add-on </a:t>
            </a:r>
            <a:r>
              <a:rPr lang="en-US" sz="1765" kern="0" dirty="0">
                <a:solidFill>
                  <a:srgbClr val="000000"/>
                </a:solidFill>
              </a:rPr>
              <a:t>increases the daily </a:t>
            </a:r>
            <a:r>
              <a:rPr lang="en-US" sz="1765" kern="0" dirty="0"/>
              <a:t>Power Platform requests </a:t>
            </a:r>
            <a:r>
              <a:rPr lang="en-US" sz="1765" kern="0" dirty="0">
                <a:solidFill>
                  <a:srgbClr val="000000"/>
                </a:solidFill>
              </a:rPr>
              <a:t>for Power Apps, Power Automate, Power Virtual Agents</a:t>
            </a:r>
            <a:r>
              <a:rPr lang="en-US" sz="1765" kern="0" dirty="0">
                <a:solidFill>
                  <a:srgbClr val="0070C0"/>
                </a:solidFill>
              </a:rPr>
              <a:t>,</a:t>
            </a:r>
            <a:r>
              <a:rPr lang="en-US" sz="1765" kern="0" dirty="0">
                <a:solidFill>
                  <a:srgbClr val="000000"/>
                </a:solidFill>
              </a:rPr>
              <a:t> and Dynamics 365 users/workloads that consistently exceed their daily service limits.</a:t>
            </a:r>
            <a:endParaRPr lang="en-US" sz="1765" kern="0" baseline="30000" dirty="0">
              <a:solidFill>
                <a:srgbClr val="000000"/>
              </a:solidFill>
            </a:endParaRPr>
          </a:p>
          <a:p>
            <a:pPr defTabSz="896182">
              <a:defRPr/>
            </a:pPr>
            <a:r>
              <a:rPr lang="en-US" sz="1765" kern="0" dirty="0">
                <a:solidFill>
                  <a:srgbClr val="243A5E"/>
                </a:solidFill>
                <a:latin typeface="Segoe UI Semibold"/>
                <a:cs typeface="Segoe UI Semibold" panose="020B0702040204020203" pitchFamily="34" charset="0"/>
              </a:rPr>
              <a:t>Note: </a:t>
            </a:r>
            <a:r>
              <a:rPr lang="en-US" sz="1765" kern="0" dirty="0">
                <a:solidFill>
                  <a:srgbClr val="000000"/>
                </a:solidFill>
              </a:rPr>
              <a:t>Service limits are for service protection purposes and set to high thresholds so that users with normal usage patterns will be well within the limits. Please see </a:t>
            </a:r>
            <a:r>
              <a:rPr lang="en-US" sz="1765" u="sng" kern="0" dirty="0">
                <a:solidFill>
                  <a:srgbClr val="000000"/>
                </a:solidFill>
                <a:hlinkClick r:id="rId4"/>
              </a:rPr>
              <a:t>http://aka.ms/platformlimits</a:t>
            </a:r>
            <a:r>
              <a:rPr lang="en-US" sz="1765" kern="0" dirty="0">
                <a:solidFill>
                  <a:srgbClr val="000000"/>
                </a:solidFill>
              </a:rPr>
              <a:t> for more details</a:t>
            </a:r>
          </a:p>
        </p:txBody>
      </p:sp>
    </p:spTree>
    <p:custDataLst>
      <p:tags r:id="rId1"/>
    </p:custDataLst>
    <p:extLst>
      <p:ext uri="{BB962C8B-B14F-4D97-AF65-F5344CB8AC3E}">
        <p14:creationId xmlns:p14="http://schemas.microsoft.com/office/powerpoint/2010/main" val="2337412998"/>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Dataverse capacity add-on</a:t>
            </a:r>
          </a:p>
        </p:txBody>
      </p:sp>
      <p:graphicFrame>
        <p:nvGraphicFramePr>
          <p:cNvPr id="6" name="Table 5">
            <a:extLst>
              <a:ext uri="{FF2B5EF4-FFF2-40B4-BE49-F238E27FC236}">
                <a16:creationId xmlns:a16="http://schemas.microsoft.com/office/drawing/2014/main" id="{2776579C-A565-4BE4-AF06-A3A89D4186A4}"/>
              </a:ext>
            </a:extLst>
          </p:cNvPr>
          <p:cNvGraphicFramePr>
            <a:graphicFrameLocks noGrp="1"/>
          </p:cNvGraphicFramePr>
          <p:nvPr>
            <p:extLst>
              <p:ext uri="{D42A27DB-BD31-4B8C-83A1-F6EECF244321}">
                <p14:modId xmlns:p14="http://schemas.microsoft.com/office/powerpoint/2010/main" val="1521657647"/>
              </p:ext>
            </p:extLst>
          </p:nvPr>
        </p:nvGraphicFramePr>
        <p:xfrm>
          <a:off x="567995" y="2748019"/>
          <a:ext cx="7446451" cy="1995180"/>
        </p:xfrm>
        <a:graphic>
          <a:graphicData uri="http://schemas.openxmlformats.org/drawingml/2006/table">
            <a:tbl>
              <a:tblPr firstRow="1" bandRow="1">
                <a:effectLst/>
              </a:tblPr>
              <a:tblGrid>
                <a:gridCol w="4815328">
                  <a:extLst>
                    <a:ext uri="{9D8B030D-6E8A-4147-A177-3AD203B41FA5}">
                      <a16:colId xmlns:a16="http://schemas.microsoft.com/office/drawing/2014/main" val="3994979072"/>
                    </a:ext>
                  </a:extLst>
                </a:gridCol>
                <a:gridCol w="2631123">
                  <a:extLst>
                    <a:ext uri="{9D8B030D-6E8A-4147-A177-3AD203B41FA5}">
                      <a16:colId xmlns:a16="http://schemas.microsoft.com/office/drawing/2014/main" val="293868319"/>
                    </a:ext>
                  </a:extLst>
                </a:gridCol>
              </a:tblGrid>
              <a:tr h="402435">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r>
                        <a:rPr lang="en-US" sz="1800" b="0" dirty="0">
                          <a:latin typeface="Segoe UI Semibold" panose="020B0702040204020203" pitchFamily="34" charset="0"/>
                          <a:cs typeface="Segoe UI Semibold" panose="020B0702040204020203" pitchFamily="34" charset="0"/>
                        </a:rPr>
                        <a:t>Offer Details</a:t>
                      </a:r>
                    </a:p>
                  </a:txBody>
                  <a:tcPr marL="87868" marR="87868" marT="43933" marB="43933" anchor="ctr">
                    <a:lnL w="6350" cap="flat" cmpd="sng" algn="ctr">
                      <a:solidFill>
                        <a:srgbClr val="243A5E"/>
                      </a:solidFill>
                      <a:prstDash val="solid"/>
                      <a:round/>
                      <a:headEnd type="none" w="med" len="med"/>
                      <a:tailEnd type="none" w="med" len="med"/>
                    </a:lnL>
                    <a:lnR w="6350" cap="flat" cmpd="sng" algn="ctr">
                      <a:solidFill>
                        <a:srgbClr val="243A5E"/>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algn="l"/>
                      <a:endParaRPr lang="en-US" sz="1800" b="0" dirty="0">
                        <a:latin typeface="Segoe UI Semibold" panose="020B0702040204020203" pitchFamily="34" charset="0"/>
                        <a:cs typeface="Segoe UI Semibold" panose="020B0702040204020203" pitchFamily="34" charset="0"/>
                      </a:endParaRPr>
                    </a:p>
                  </a:txBody>
                  <a:tcPr marL="87868" marR="87868" marT="43933" marB="43933" anchor="ctr">
                    <a:lnL w="6350" cap="flat" cmpd="sng" algn="ctr">
                      <a:solidFill>
                        <a:srgbClr val="243A5E"/>
                      </a:solidFill>
                      <a:prstDash val="solid"/>
                      <a:round/>
                      <a:headEnd type="none" w="med" len="med"/>
                      <a:tailEnd type="none" w="med" len="med"/>
                    </a:lnL>
                    <a:lnR w="6350" cap="flat" cmpd="sng" algn="ctr">
                      <a:solidFill>
                        <a:srgbClr val="243A5E"/>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99048358"/>
                  </a:ext>
                </a:extLst>
              </a:tr>
              <a:tr h="530915">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dirty="0" err="1">
                          <a:solidFill>
                            <a:srgbClr val="002060"/>
                          </a:solidFill>
                          <a:latin typeface="+mj-lt"/>
                        </a:rPr>
                        <a:t>Dataverse</a:t>
                      </a:r>
                      <a:r>
                        <a:rPr lang="en-US" sz="1800" dirty="0">
                          <a:solidFill>
                            <a:srgbClr val="002060"/>
                          </a:solidFill>
                          <a:latin typeface="+mj-lt"/>
                        </a:rPr>
                        <a:t> Database capacity (1GB)</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800" dirty="0">
                          <a:solidFill>
                            <a:schemeClr val="tx2"/>
                          </a:solidFill>
                        </a:rPr>
                        <a:t>40$ per month</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0578892"/>
                  </a:ext>
                </a:extLst>
              </a:tr>
              <a:tr h="530915">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dirty="0" err="1">
                          <a:solidFill>
                            <a:srgbClr val="002060"/>
                          </a:solidFill>
                          <a:latin typeface="+mj-lt"/>
                        </a:rPr>
                        <a:t>Dataverse</a:t>
                      </a:r>
                      <a:r>
                        <a:rPr lang="en-US" sz="1800" dirty="0">
                          <a:solidFill>
                            <a:srgbClr val="002060"/>
                          </a:solidFill>
                          <a:latin typeface="+mj-lt"/>
                        </a:rPr>
                        <a:t> File capacity (1GB)</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2"/>
                          </a:solidFill>
                        </a:rPr>
                        <a:t>2$ per month</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290498"/>
                  </a:ext>
                </a:extLst>
              </a:tr>
              <a:tr h="530915">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dirty="0" err="1">
                          <a:solidFill>
                            <a:srgbClr val="002060"/>
                          </a:solidFill>
                          <a:latin typeface="+mj-lt"/>
                        </a:rPr>
                        <a:t>Dataverse</a:t>
                      </a:r>
                      <a:r>
                        <a:rPr lang="en-US" sz="1800" dirty="0">
                          <a:solidFill>
                            <a:srgbClr val="002060"/>
                          </a:solidFill>
                          <a:latin typeface="+mj-lt"/>
                        </a:rPr>
                        <a:t> Log capacity (1GB)</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2"/>
                          </a:solidFill>
                        </a:rPr>
                        <a:t>10$ per month</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951216"/>
                  </a:ext>
                </a:extLst>
              </a:tr>
            </a:tbl>
          </a:graphicData>
        </a:graphic>
      </p:graphicFrame>
      <p:sp>
        <p:nvSpPr>
          <p:cNvPr id="9" name="Rectangle 8">
            <a:extLst>
              <a:ext uri="{FF2B5EF4-FFF2-40B4-BE49-F238E27FC236}">
                <a16:creationId xmlns:a16="http://schemas.microsoft.com/office/drawing/2014/main" id="{E805C7CF-0C66-4361-A3AC-61FE9C67A1B7}"/>
              </a:ext>
            </a:extLst>
          </p:cNvPr>
          <p:cNvSpPr>
            <a:spLocks noChangeArrowheads="1"/>
          </p:cNvSpPr>
          <p:nvPr/>
        </p:nvSpPr>
        <p:spPr bwMode="auto">
          <a:xfrm>
            <a:off x="567996" y="1108458"/>
            <a:ext cx="3223876"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77543" eaLnBrk="1" fontAlgn="base" hangingPunct="1">
              <a:spcBef>
                <a:spcPct val="0"/>
              </a:spcBef>
              <a:spcAft>
                <a:spcPct val="0"/>
              </a:spcAft>
              <a:defRPr/>
            </a:pPr>
            <a:r>
              <a:rPr lang="en-US" altLang="ko-KR" sz="1961" dirty="0">
                <a:solidFill>
                  <a:srgbClr val="243A5E"/>
                </a:solidFill>
                <a:latin typeface="Segoe UI Semibold" panose="020B0702040204020203" pitchFamily="34" charset="0"/>
                <a:ea typeface="Gulim" charset="-127"/>
                <a:cs typeface="Segoe UI Semibold" panose="020B0702040204020203" pitchFamily="34" charset="0"/>
              </a:rPr>
              <a:t>Overview</a:t>
            </a:r>
          </a:p>
        </p:txBody>
      </p:sp>
      <p:sp>
        <p:nvSpPr>
          <p:cNvPr id="11" name="Rectangle 10">
            <a:extLst>
              <a:ext uri="{FF2B5EF4-FFF2-40B4-BE49-F238E27FC236}">
                <a16:creationId xmlns:a16="http://schemas.microsoft.com/office/drawing/2014/main" id="{7AA82A7F-9254-4FEF-9D6C-B2A1CDFD8448}"/>
              </a:ext>
            </a:extLst>
          </p:cNvPr>
          <p:cNvSpPr/>
          <p:nvPr/>
        </p:nvSpPr>
        <p:spPr>
          <a:xfrm>
            <a:off x="567996" y="1462105"/>
            <a:ext cx="11188574" cy="903151"/>
          </a:xfrm>
          <a:prstGeom prst="rect">
            <a:avLst/>
          </a:prstGeom>
          <a:noFill/>
        </p:spPr>
        <p:txBody>
          <a:bodyPr wrap="square" lIns="87152" tIns="37351" rIns="87152" bIns="37351" anchor="ctr">
            <a:noAutofit/>
          </a:bodyPr>
          <a:lstStyle/>
          <a:p>
            <a:pPr defTabSz="896182">
              <a:spcAft>
                <a:spcPts val="588"/>
              </a:spcAft>
              <a:defRPr/>
            </a:pPr>
            <a:r>
              <a:rPr lang="en-US" sz="1600" kern="0" dirty="0">
                <a:solidFill>
                  <a:srgbClr val="505050"/>
                </a:solidFill>
              </a:rPr>
              <a:t>Apps or flows utilizing </a:t>
            </a:r>
            <a:r>
              <a:rPr lang="en-US" sz="1600" kern="0" dirty="0" err="1">
                <a:solidFill>
                  <a:srgbClr val="505050"/>
                </a:solidFill>
              </a:rPr>
              <a:t>Dataverse</a:t>
            </a:r>
            <a:r>
              <a:rPr lang="en-US" sz="1600" kern="0" dirty="0">
                <a:solidFill>
                  <a:srgbClr val="505050"/>
                </a:solidFill>
              </a:rPr>
              <a:t> will consume varying quantities of Database Capacity, File Capacity, and Log Capacity and may require different kinds of Power Apps and Power Automates environments. Apps may utilize flows, or flows may be run separately from apps.</a:t>
            </a:r>
          </a:p>
        </p:txBody>
      </p:sp>
      <p:sp>
        <p:nvSpPr>
          <p:cNvPr id="13" name="TextBox 12">
            <a:extLst>
              <a:ext uri="{FF2B5EF4-FFF2-40B4-BE49-F238E27FC236}">
                <a16:creationId xmlns:a16="http://schemas.microsoft.com/office/drawing/2014/main" id="{2E4FC0B0-0AE1-40E4-A7DD-1DCED6737349}"/>
              </a:ext>
            </a:extLst>
          </p:cNvPr>
          <p:cNvSpPr txBox="1"/>
          <p:nvPr/>
        </p:nvSpPr>
        <p:spPr>
          <a:xfrm>
            <a:off x="567995" y="4980396"/>
            <a:ext cx="11188575" cy="830997"/>
          </a:xfrm>
          <a:prstGeom prst="rect">
            <a:avLst/>
          </a:prstGeom>
          <a:noFill/>
        </p:spPr>
        <p:txBody>
          <a:bodyPr wrap="square">
            <a:spAutoFit/>
          </a:bodyPr>
          <a:lstStyle/>
          <a:p>
            <a:r>
              <a:rPr lang="en-US" sz="1600" kern="0" dirty="0">
                <a:solidFill>
                  <a:srgbClr val="505050"/>
                </a:solidFill>
              </a:rPr>
              <a:t>Please note that </a:t>
            </a:r>
            <a:r>
              <a:rPr lang="en-US" sz="1600" kern="0" dirty="0" err="1">
                <a:solidFill>
                  <a:srgbClr val="505050"/>
                </a:solidFill>
              </a:rPr>
              <a:t>Dataverse</a:t>
            </a:r>
            <a:r>
              <a:rPr lang="en-US" sz="1600" kern="0" dirty="0">
                <a:solidFill>
                  <a:srgbClr val="505050"/>
                </a:solidFill>
              </a:rPr>
              <a:t> capacity add-ons </a:t>
            </a:r>
            <a:r>
              <a:rPr lang="en-US" sz="1600" b="1" kern="0" dirty="0">
                <a:solidFill>
                  <a:srgbClr val="505050"/>
                </a:solidFill>
              </a:rPr>
              <a:t>do not apply</a:t>
            </a:r>
            <a:r>
              <a:rPr lang="en-US" sz="1600" kern="0" dirty="0">
                <a:solidFill>
                  <a:srgbClr val="505050"/>
                </a:solidFill>
              </a:rPr>
              <a:t> to </a:t>
            </a:r>
            <a:r>
              <a:rPr lang="en-US" sz="1600" kern="0" dirty="0" err="1">
                <a:solidFill>
                  <a:srgbClr val="505050"/>
                </a:solidFill>
              </a:rPr>
              <a:t>Dataverse</a:t>
            </a:r>
            <a:r>
              <a:rPr lang="en-US" sz="1600" kern="0" dirty="0">
                <a:solidFill>
                  <a:srgbClr val="505050"/>
                </a:solidFill>
              </a:rPr>
              <a:t> for Teams scenarios (i.e., when a </a:t>
            </a:r>
            <a:r>
              <a:rPr lang="en-US" sz="1600" kern="0" dirty="0" err="1">
                <a:solidFill>
                  <a:srgbClr val="505050"/>
                </a:solidFill>
              </a:rPr>
              <a:t>Dataverse</a:t>
            </a:r>
            <a:r>
              <a:rPr lang="en-US" sz="1600" kern="0" dirty="0">
                <a:solidFill>
                  <a:srgbClr val="505050"/>
                </a:solidFill>
              </a:rPr>
              <a:t> for Teams environment reaches its limit, customers need to step up to standalone Power Apps, Power Automate, or Power Virtual Agents plans for additional capacity).</a:t>
            </a:r>
            <a:endParaRPr lang="LID4096" sz="1600" kern="0" dirty="0">
              <a:solidFill>
                <a:srgbClr val="505050"/>
              </a:solidFill>
            </a:endParaRPr>
          </a:p>
        </p:txBody>
      </p:sp>
    </p:spTree>
    <p:custDataLst>
      <p:tags r:id="rId1"/>
    </p:custDataLst>
    <p:extLst>
      <p:ext uri="{BB962C8B-B14F-4D97-AF65-F5344CB8AC3E}">
        <p14:creationId xmlns:p14="http://schemas.microsoft.com/office/powerpoint/2010/main" val="256604591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name="HIDDEN - Slide6">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p:txBody>
          <a:bodyPr/>
          <a:lstStyle/>
          <a:p>
            <a:r>
              <a:rPr lang="en-US" dirty="0"/>
              <a:t>Center of Excellence Starter Kit</a:t>
            </a:r>
            <a:br>
              <a:rPr lang="en-US" dirty="0"/>
            </a:br>
            <a:r>
              <a:rPr lang="en-US" dirty="0"/>
              <a:t>Licensing Requirements</a:t>
            </a:r>
          </a:p>
        </p:txBody>
      </p:sp>
    </p:spTree>
    <p:custDataLst>
      <p:tags r:id="rId1"/>
    </p:custDataLst>
    <p:extLst>
      <p:ext uri="{BB962C8B-B14F-4D97-AF65-F5344CB8AC3E}">
        <p14:creationId xmlns:p14="http://schemas.microsoft.com/office/powerpoint/2010/main" val="153249145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US" noProof="1"/>
              <a:t>Center of Excellence Starter Kit Licensing Requirements</a:t>
            </a:r>
          </a:p>
        </p:txBody>
      </p:sp>
      <p:sp>
        <p:nvSpPr>
          <p:cNvPr id="11" name="Rectangle 10">
            <a:extLst>
              <a:ext uri="{FF2B5EF4-FFF2-40B4-BE49-F238E27FC236}">
                <a16:creationId xmlns:a16="http://schemas.microsoft.com/office/drawing/2014/main" id="{7AA82A7F-9254-4FEF-9D6C-B2A1CDFD8448}"/>
              </a:ext>
            </a:extLst>
          </p:cNvPr>
          <p:cNvSpPr/>
          <p:nvPr/>
        </p:nvSpPr>
        <p:spPr>
          <a:xfrm>
            <a:off x="567996" y="1462105"/>
            <a:ext cx="10404804" cy="2425840"/>
          </a:xfrm>
          <a:prstGeom prst="rect">
            <a:avLst/>
          </a:prstGeom>
          <a:noFill/>
        </p:spPr>
        <p:txBody>
          <a:bodyPr wrap="square" lIns="87152" tIns="37351" rIns="87152" bIns="37351" anchor="t">
            <a:noAutofit/>
          </a:bodyPr>
          <a:lstStyle/>
          <a:p>
            <a:pPr defTabSz="896182">
              <a:spcAft>
                <a:spcPts val="588"/>
              </a:spcAft>
              <a:defRPr/>
            </a:pPr>
            <a:r>
              <a:rPr lang="en-US" sz="2000" b="0" i="0">
                <a:solidFill>
                  <a:srgbClr val="171717"/>
                </a:solidFill>
                <a:effectLst/>
                <a:latin typeface="Segoe UI" panose="020B0502040204020203" pitchFamily="34" charset="0"/>
              </a:rPr>
              <a:t>Microsoft 365 license like E1/E3/E5 is required to use Office 365 connectors like Outlook, SharePoint and Groups</a:t>
            </a:r>
          </a:p>
          <a:p>
            <a:pPr defTabSz="896182">
              <a:spcAft>
                <a:spcPts val="588"/>
              </a:spcAft>
              <a:defRPr/>
            </a:pPr>
            <a:endParaRPr lang="en-US" sz="2000" b="1" kern="0" dirty="0">
              <a:solidFill>
                <a:srgbClr val="505050"/>
              </a:solidFill>
            </a:endParaRPr>
          </a:p>
          <a:p>
            <a:pPr defTabSz="896182">
              <a:spcAft>
                <a:spcPts val="588"/>
              </a:spcAft>
              <a:defRPr/>
            </a:pPr>
            <a:r>
              <a:rPr lang="en-US" sz="2000" b="1" kern="0" dirty="0">
                <a:solidFill>
                  <a:srgbClr val="505050"/>
                </a:solidFill>
              </a:rPr>
              <a:t>Center of Excellence Starter Kit in Production environment </a:t>
            </a:r>
          </a:p>
          <a:p>
            <a:pPr marL="342900" indent="-342900" defTabSz="896182">
              <a:spcAft>
                <a:spcPts val="588"/>
              </a:spcAft>
              <a:buFont typeface="Arial" panose="020B0604020202020204" pitchFamily="34" charset="0"/>
              <a:buChar char="•"/>
              <a:defRPr/>
            </a:pPr>
            <a:r>
              <a:rPr lang="en-US" sz="2000" kern="0" dirty="0">
                <a:solidFill>
                  <a:srgbClr val="505050"/>
                </a:solidFill>
              </a:rPr>
              <a:t>Premium licenses are required for </a:t>
            </a:r>
            <a:r>
              <a:rPr lang="en-US" sz="2000" b="1" kern="0" dirty="0">
                <a:solidFill>
                  <a:srgbClr val="505050"/>
                </a:solidFill>
              </a:rPr>
              <a:t>all</a:t>
            </a:r>
            <a:r>
              <a:rPr lang="en-US" sz="2000" kern="0" dirty="0">
                <a:solidFill>
                  <a:srgbClr val="505050"/>
                </a:solidFill>
              </a:rPr>
              <a:t> users interacting with the </a:t>
            </a:r>
            <a:r>
              <a:rPr lang="en-US" sz="2000" kern="0" dirty="0" err="1">
                <a:solidFill>
                  <a:srgbClr val="505050"/>
                </a:solidFill>
              </a:rPr>
              <a:t>CoE</a:t>
            </a:r>
            <a:r>
              <a:rPr lang="en-US" sz="2000" kern="0" dirty="0">
                <a:solidFill>
                  <a:srgbClr val="505050"/>
                </a:solidFill>
              </a:rPr>
              <a:t> Starter Kit</a:t>
            </a:r>
          </a:p>
          <a:p>
            <a:pPr marL="342900" indent="-342900" defTabSz="896182">
              <a:spcAft>
                <a:spcPts val="588"/>
              </a:spcAft>
              <a:buFont typeface="Arial" panose="020B0604020202020204" pitchFamily="34" charset="0"/>
              <a:buChar char="•"/>
              <a:defRPr/>
            </a:pPr>
            <a:r>
              <a:rPr lang="en-US" sz="2000" kern="0" dirty="0">
                <a:solidFill>
                  <a:srgbClr val="505050"/>
                </a:solidFill>
              </a:rPr>
              <a:t>Depending on what components you will use, your organization size and the existing licenses available in your organization, you will require either a </a:t>
            </a:r>
            <a:r>
              <a:rPr lang="en-US" sz="2000" b="1" kern="0" dirty="0">
                <a:solidFill>
                  <a:srgbClr val="505050"/>
                </a:solidFill>
              </a:rPr>
              <a:t>Power Apps per user </a:t>
            </a:r>
            <a:r>
              <a:rPr lang="en-US" sz="2000" kern="0" dirty="0">
                <a:solidFill>
                  <a:srgbClr val="505050"/>
                </a:solidFill>
              </a:rPr>
              <a:t>or </a:t>
            </a:r>
            <a:r>
              <a:rPr lang="en-US" sz="2000" b="1" kern="0" dirty="0">
                <a:solidFill>
                  <a:srgbClr val="505050"/>
                </a:solidFill>
              </a:rPr>
              <a:t>per app </a:t>
            </a:r>
            <a:r>
              <a:rPr lang="en-US" sz="2000" kern="0" dirty="0">
                <a:solidFill>
                  <a:srgbClr val="505050"/>
                </a:solidFill>
              </a:rPr>
              <a:t>or </a:t>
            </a:r>
            <a:r>
              <a:rPr lang="en-US" sz="2000" b="1" kern="0" dirty="0">
                <a:solidFill>
                  <a:srgbClr val="505050"/>
                </a:solidFill>
              </a:rPr>
              <a:t>Power Automate per user </a:t>
            </a:r>
            <a:r>
              <a:rPr lang="en-US" sz="2000" kern="0" dirty="0">
                <a:solidFill>
                  <a:srgbClr val="505050"/>
                </a:solidFill>
              </a:rPr>
              <a:t>or </a:t>
            </a:r>
            <a:r>
              <a:rPr lang="en-US" sz="2000" b="1" kern="0" dirty="0">
                <a:solidFill>
                  <a:srgbClr val="505050"/>
                </a:solidFill>
              </a:rPr>
              <a:t>per flow </a:t>
            </a:r>
            <a:r>
              <a:rPr lang="en-US" sz="2000" kern="0" dirty="0">
                <a:solidFill>
                  <a:srgbClr val="505050"/>
                </a:solidFill>
              </a:rPr>
              <a:t>license or a combination of these licenses.</a:t>
            </a:r>
          </a:p>
          <a:p>
            <a:pPr defTabSz="896182">
              <a:spcAft>
                <a:spcPts val="588"/>
              </a:spcAft>
              <a:defRPr/>
            </a:pPr>
            <a:endParaRPr lang="en-US" sz="2000" kern="0" dirty="0">
              <a:solidFill>
                <a:srgbClr val="505050"/>
              </a:solidFill>
            </a:endParaRPr>
          </a:p>
          <a:p>
            <a:pPr defTabSz="896182">
              <a:spcAft>
                <a:spcPts val="588"/>
              </a:spcAft>
              <a:defRPr/>
            </a:pPr>
            <a:r>
              <a:rPr lang="en-US" sz="2000" b="1" kern="0" dirty="0" err="1">
                <a:solidFill>
                  <a:srgbClr val="505050"/>
                </a:solidFill>
              </a:rPr>
              <a:t>Dataverse</a:t>
            </a:r>
            <a:r>
              <a:rPr lang="en-US" sz="2000" b="1" kern="0" dirty="0">
                <a:solidFill>
                  <a:srgbClr val="505050"/>
                </a:solidFill>
              </a:rPr>
              <a:t> for Teams </a:t>
            </a:r>
            <a:r>
              <a:rPr lang="en-US" sz="2000" b="1" kern="0" dirty="0" err="1">
                <a:solidFill>
                  <a:srgbClr val="505050"/>
                </a:solidFill>
              </a:rPr>
              <a:t>CoE</a:t>
            </a:r>
            <a:endParaRPr lang="en-US" sz="2000" b="1" kern="0" dirty="0">
              <a:solidFill>
                <a:srgbClr val="505050"/>
              </a:solidFill>
            </a:endParaRPr>
          </a:p>
          <a:p>
            <a:pPr marL="342900" indent="-342900" defTabSz="896182">
              <a:spcAft>
                <a:spcPts val="588"/>
              </a:spcAft>
              <a:buFont typeface="Arial" panose="020B0604020202020204" pitchFamily="34" charset="0"/>
              <a:buChar char="•"/>
              <a:defRPr/>
            </a:pPr>
            <a:r>
              <a:rPr lang="en-US" sz="2000" u="sng" kern="0" dirty="0">
                <a:solidFill>
                  <a:srgbClr val="505050"/>
                </a:solidFill>
              </a:rPr>
              <a:t>Power Automate per user </a:t>
            </a:r>
            <a:r>
              <a:rPr lang="en-US" sz="2000" kern="0" dirty="0">
                <a:solidFill>
                  <a:srgbClr val="505050"/>
                </a:solidFill>
              </a:rPr>
              <a:t>license will be required for the admin </a:t>
            </a:r>
            <a:r>
              <a:rPr lang="en-US" sz="2000" b="1" kern="0" dirty="0">
                <a:solidFill>
                  <a:srgbClr val="505050"/>
                </a:solidFill>
              </a:rPr>
              <a:t>running the sync flows</a:t>
            </a:r>
          </a:p>
          <a:p>
            <a:pPr marL="342900" indent="-342900" defTabSz="896182">
              <a:spcAft>
                <a:spcPts val="588"/>
              </a:spcAft>
              <a:buFont typeface="Arial" panose="020B0604020202020204" pitchFamily="34" charset="0"/>
              <a:buChar char="•"/>
              <a:defRPr/>
            </a:pPr>
            <a:r>
              <a:rPr lang="en-US" sz="2000" kern="0" dirty="0">
                <a:solidFill>
                  <a:srgbClr val="505050"/>
                </a:solidFill>
              </a:rPr>
              <a:t>No additional licenses will be required for users interacting with any of the canvas apps</a:t>
            </a:r>
          </a:p>
          <a:p>
            <a:pPr defTabSz="896182">
              <a:spcAft>
                <a:spcPts val="588"/>
              </a:spcAft>
              <a:defRPr/>
            </a:pPr>
            <a:endParaRPr lang="en-US" sz="2000" b="1" kern="0" dirty="0">
              <a:solidFill>
                <a:srgbClr val="505050"/>
              </a:solidFill>
            </a:endParaRPr>
          </a:p>
        </p:txBody>
      </p:sp>
    </p:spTree>
    <p:custDataLst>
      <p:tags r:id="rId1"/>
    </p:custDataLst>
    <p:extLst>
      <p:ext uri="{BB962C8B-B14F-4D97-AF65-F5344CB8AC3E}">
        <p14:creationId xmlns:p14="http://schemas.microsoft.com/office/powerpoint/2010/main" val="2007672948"/>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Power BI Dashboard</a:t>
            </a:r>
          </a:p>
        </p:txBody>
      </p:sp>
      <p:sp>
        <p:nvSpPr>
          <p:cNvPr id="11" name="Rectangle 10">
            <a:extLst>
              <a:ext uri="{FF2B5EF4-FFF2-40B4-BE49-F238E27FC236}">
                <a16:creationId xmlns:a16="http://schemas.microsoft.com/office/drawing/2014/main" id="{7AA82A7F-9254-4FEF-9D6C-B2A1CDFD8448}"/>
              </a:ext>
            </a:extLst>
          </p:cNvPr>
          <p:cNvSpPr/>
          <p:nvPr/>
        </p:nvSpPr>
        <p:spPr>
          <a:xfrm>
            <a:off x="567995" y="1462104"/>
            <a:ext cx="6002487" cy="4853636"/>
          </a:xfrm>
          <a:prstGeom prst="rect">
            <a:avLst/>
          </a:prstGeom>
          <a:noFill/>
        </p:spPr>
        <p:txBody>
          <a:bodyPr wrap="square" lIns="87152" tIns="37351" rIns="87152" bIns="37351" anchor="t">
            <a:noAutofit/>
          </a:bodyPr>
          <a:lstStyle/>
          <a:p>
            <a:pPr marL="342900" indent="-342900" defTabSz="896182">
              <a:spcAft>
                <a:spcPts val="588"/>
              </a:spcAft>
              <a:buFont typeface="Arial" panose="020B0604020202020204" pitchFamily="34" charset="0"/>
              <a:buChar char="•"/>
              <a:defRPr/>
            </a:pPr>
            <a:r>
              <a:rPr lang="en-US" sz="2000" kern="0" dirty="0">
                <a:solidFill>
                  <a:srgbClr val="505050"/>
                </a:solidFill>
              </a:rPr>
              <a:t>Center of Excellence (</a:t>
            </a:r>
            <a:r>
              <a:rPr lang="en-US" sz="2000" kern="0" dirty="0" err="1">
                <a:solidFill>
                  <a:srgbClr val="505050"/>
                </a:solidFill>
              </a:rPr>
              <a:t>CoE</a:t>
            </a:r>
            <a:r>
              <a:rPr lang="en-US" sz="2000" kern="0" dirty="0">
                <a:solidFill>
                  <a:srgbClr val="505050"/>
                </a:solidFill>
              </a:rPr>
              <a:t>) Starter Kit Power BI Dashboard can be used with Power BI Free license, but with free license you are </a:t>
            </a:r>
            <a:r>
              <a:rPr lang="en-US" sz="2000" b="1" kern="0" dirty="0">
                <a:solidFill>
                  <a:srgbClr val="505050"/>
                </a:solidFill>
              </a:rPr>
              <a:t>not</a:t>
            </a:r>
            <a:r>
              <a:rPr lang="en-US" sz="2000" kern="0" dirty="0">
                <a:solidFill>
                  <a:srgbClr val="505050"/>
                </a:solidFill>
              </a:rPr>
              <a:t> able to share reports</a:t>
            </a:r>
          </a:p>
          <a:p>
            <a:pPr marL="342900" indent="-342900" defTabSz="896182">
              <a:spcAft>
                <a:spcPts val="588"/>
              </a:spcAft>
              <a:buFont typeface="Arial" panose="020B0604020202020204" pitchFamily="34" charset="0"/>
              <a:buChar char="•"/>
              <a:defRPr/>
            </a:pPr>
            <a:endParaRPr lang="en-US" sz="2000" kern="0" dirty="0">
              <a:solidFill>
                <a:srgbClr val="505050"/>
              </a:solidFill>
            </a:endParaRPr>
          </a:p>
          <a:p>
            <a:pPr marL="342900" indent="-342900" defTabSz="896182">
              <a:spcAft>
                <a:spcPts val="588"/>
              </a:spcAft>
              <a:buFont typeface="Arial" panose="020B0604020202020204" pitchFamily="34" charset="0"/>
              <a:buChar char="•"/>
              <a:defRPr/>
            </a:pPr>
            <a:r>
              <a:rPr lang="en-US" sz="2000" kern="0" dirty="0">
                <a:solidFill>
                  <a:srgbClr val="505050"/>
                </a:solidFill>
              </a:rPr>
              <a:t>With free license you can use report in Power BI Desktop and/or publish the report to your own personal Power BI workspace</a:t>
            </a:r>
          </a:p>
          <a:p>
            <a:pPr defTabSz="896182">
              <a:spcAft>
                <a:spcPts val="588"/>
              </a:spcAft>
              <a:defRPr/>
            </a:pPr>
            <a:endParaRPr lang="en-US" sz="2000" kern="0" dirty="0">
              <a:solidFill>
                <a:srgbClr val="505050"/>
              </a:solidFill>
            </a:endParaRPr>
          </a:p>
          <a:p>
            <a:pPr marL="342900" indent="-342900" defTabSz="896182">
              <a:spcAft>
                <a:spcPts val="588"/>
              </a:spcAft>
              <a:buFont typeface="Arial" panose="020B0604020202020204" pitchFamily="34" charset="0"/>
              <a:buChar char="•"/>
              <a:defRPr/>
            </a:pPr>
            <a:r>
              <a:rPr lang="en-US" sz="2000" kern="0" dirty="0">
                <a:solidFill>
                  <a:srgbClr val="505050"/>
                </a:solidFill>
              </a:rPr>
              <a:t>Power BI Pro or Premium is need to be able to share reports to others and open shared reports</a:t>
            </a:r>
          </a:p>
          <a:p>
            <a:pPr defTabSz="896182">
              <a:spcAft>
                <a:spcPts val="588"/>
              </a:spcAft>
              <a:defRPr/>
            </a:pPr>
            <a:endParaRPr lang="en-US" sz="1600" kern="0" dirty="0">
              <a:solidFill>
                <a:srgbClr val="505050"/>
              </a:solidFill>
            </a:endParaRPr>
          </a:p>
        </p:txBody>
      </p:sp>
      <p:pic>
        <p:nvPicPr>
          <p:cNvPr id="4" name="Picture 3">
            <a:extLst>
              <a:ext uri="{FF2B5EF4-FFF2-40B4-BE49-F238E27FC236}">
                <a16:creationId xmlns:a16="http://schemas.microsoft.com/office/drawing/2014/main" id="{C3AFC7C0-9956-42C5-93ED-010BFC99D57E}"/>
              </a:ext>
            </a:extLst>
          </p:cNvPr>
          <p:cNvPicPr>
            <a:picLocks noChangeAspect="1"/>
          </p:cNvPicPr>
          <p:nvPr/>
        </p:nvPicPr>
        <p:blipFill>
          <a:blip r:embed="rId4"/>
          <a:stretch>
            <a:fillRect/>
          </a:stretch>
        </p:blipFill>
        <p:spPr>
          <a:xfrm>
            <a:off x="7343271" y="320040"/>
            <a:ext cx="4510106" cy="3775710"/>
          </a:xfrm>
          <a:prstGeom prst="rect">
            <a:avLst/>
          </a:prstGeom>
        </p:spPr>
      </p:pic>
      <p:pic>
        <p:nvPicPr>
          <p:cNvPr id="8" name="Picture 7">
            <a:extLst>
              <a:ext uri="{FF2B5EF4-FFF2-40B4-BE49-F238E27FC236}">
                <a16:creationId xmlns:a16="http://schemas.microsoft.com/office/drawing/2014/main" id="{ABD90333-2881-4AAD-B26D-E09CBB85862E}"/>
              </a:ext>
            </a:extLst>
          </p:cNvPr>
          <p:cNvPicPr>
            <a:picLocks noChangeAspect="1"/>
          </p:cNvPicPr>
          <p:nvPr/>
        </p:nvPicPr>
        <p:blipFill>
          <a:blip r:embed="rId5"/>
          <a:stretch>
            <a:fillRect/>
          </a:stretch>
        </p:blipFill>
        <p:spPr>
          <a:xfrm>
            <a:off x="7343271" y="4213372"/>
            <a:ext cx="4510106" cy="2465025"/>
          </a:xfrm>
          <a:prstGeom prst="rect">
            <a:avLst/>
          </a:prstGeom>
        </p:spPr>
      </p:pic>
      <p:sp>
        <p:nvSpPr>
          <p:cNvPr id="2" name="Rectangle 1">
            <a:extLst>
              <a:ext uri="{FF2B5EF4-FFF2-40B4-BE49-F238E27FC236}">
                <a16:creationId xmlns:a16="http://schemas.microsoft.com/office/drawing/2014/main" id="{48CEE5D8-4266-4C1A-863C-FF03B3B85D18}"/>
              </a:ext>
            </a:extLst>
          </p:cNvPr>
          <p:cNvSpPr/>
          <p:nvPr/>
        </p:nvSpPr>
        <p:spPr bwMode="auto">
          <a:xfrm>
            <a:off x="7880808" y="3629320"/>
            <a:ext cx="3972569" cy="179109"/>
          </a:xfrm>
          <a:prstGeom prst="rect">
            <a:avLst/>
          </a:prstGeom>
          <a:noFill/>
          <a:ln w="1905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LID4096"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40719585"/>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dirty="0">
                <a:noFill/>
              </a:rPr>
              <a:t>Microsoft</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name="HIDDEN - Slide6">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p:txBody>
          <a:bodyPr/>
          <a:lstStyle/>
          <a:p>
            <a:r>
              <a:rPr lang="en-US" dirty="0"/>
              <a:t>Power Apps and Power Automate </a:t>
            </a:r>
            <a:br>
              <a:rPr lang="en-US" dirty="0"/>
            </a:br>
            <a:r>
              <a:rPr lang="en-US" dirty="0"/>
              <a:t>License Plans</a:t>
            </a:r>
          </a:p>
        </p:txBody>
      </p:sp>
    </p:spTree>
    <p:custDataLst>
      <p:tags r:id="rId1"/>
    </p:custDataLst>
    <p:extLst>
      <p:ext uri="{BB962C8B-B14F-4D97-AF65-F5344CB8AC3E}">
        <p14:creationId xmlns:p14="http://schemas.microsoft.com/office/powerpoint/2010/main" val="218146380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Power Apps standalone plans</a:t>
            </a:r>
          </a:p>
        </p:txBody>
      </p:sp>
      <p:graphicFrame>
        <p:nvGraphicFramePr>
          <p:cNvPr id="9" name="Table 8">
            <a:extLst>
              <a:ext uri="{FF2B5EF4-FFF2-40B4-BE49-F238E27FC236}">
                <a16:creationId xmlns:a16="http://schemas.microsoft.com/office/drawing/2014/main" id="{CE702611-002E-4410-A3DA-3E6E65A7D060}"/>
              </a:ext>
            </a:extLst>
          </p:cNvPr>
          <p:cNvGraphicFramePr>
            <a:graphicFrameLocks noGrp="1"/>
          </p:cNvGraphicFramePr>
          <p:nvPr>
            <p:extLst>
              <p:ext uri="{D42A27DB-BD31-4B8C-83A1-F6EECF244321}">
                <p14:modId xmlns:p14="http://schemas.microsoft.com/office/powerpoint/2010/main" val="3296081814"/>
              </p:ext>
            </p:extLst>
          </p:nvPr>
        </p:nvGraphicFramePr>
        <p:xfrm>
          <a:off x="537179" y="829371"/>
          <a:ext cx="11117641" cy="5065824"/>
        </p:xfrm>
        <a:graphic>
          <a:graphicData uri="http://schemas.openxmlformats.org/drawingml/2006/table">
            <a:tbl>
              <a:tblPr firstRow="1">
                <a:effectLst/>
              </a:tblPr>
              <a:tblGrid>
                <a:gridCol w="1861355">
                  <a:extLst>
                    <a:ext uri="{9D8B030D-6E8A-4147-A177-3AD203B41FA5}">
                      <a16:colId xmlns:a16="http://schemas.microsoft.com/office/drawing/2014/main" val="1807449127"/>
                    </a:ext>
                  </a:extLst>
                </a:gridCol>
                <a:gridCol w="2955243">
                  <a:extLst>
                    <a:ext uri="{9D8B030D-6E8A-4147-A177-3AD203B41FA5}">
                      <a16:colId xmlns:a16="http://schemas.microsoft.com/office/drawing/2014/main" val="731576719"/>
                    </a:ext>
                  </a:extLst>
                </a:gridCol>
                <a:gridCol w="1570534">
                  <a:extLst>
                    <a:ext uri="{9D8B030D-6E8A-4147-A177-3AD203B41FA5}">
                      <a16:colId xmlns:a16="http://schemas.microsoft.com/office/drawing/2014/main" val="3639684717"/>
                    </a:ext>
                  </a:extLst>
                </a:gridCol>
                <a:gridCol w="1675237">
                  <a:extLst>
                    <a:ext uri="{9D8B030D-6E8A-4147-A177-3AD203B41FA5}">
                      <a16:colId xmlns:a16="http://schemas.microsoft.com/office/drawing/2014/main" val="818084886"/>
                    </a:ext>
                  </a:extLst>
                </a:gridCol>
                <a:gridCol w="1556574">
                  <a:extLst>
                    <a:ext uri="{9D8B030D-6E8A-4147-A177-3AD203B41FA5}">
                      <a16:colId xmlns:a16="http://schemas.microsoft.com/office/drawing/2014/main" val="880528590"/>
                    </a:ext>
                  </a:extLst>
                </a:gridCol>
                <a:gridCol w="1498698">
                  <a:extLst>
                    <a:ext uri="{9D8B030D-6E8A-4147-A177-3AD203B41FA5}">
                      <a16:colId xmlns:a16="http://schemas.microsoft.com/office/drawing/2014/main" val="3821418633"/>
                    </a:ext>
                  </a:extLst>
                </a:gridCol>
              </a:tblGrid>
              <a:tr h="751038">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l" defTabSz="932742" rtl="0" eaLnBrk="1" latinLnBrk="0" hangingPunct="1"/>
                      <a:r>
                        <a:rPr lang="en-US" sz="1800" b="0" kern="1200">
                          <a:latin typeface="Segoe UI Semibold"/>
                          <a:cs typeface="Segoe UI Semibold"/>
                        </a:rPr>
                        <a:t>Plans and capabilities</a:t>
                      </a:r>
                      <a:endParaRPr lang="en-US" sz="1800" b="0" kern="1200">
                        <a:solidFill>
                          <a:schemeClr val="tx1"/>
                        </a:solidFill>
                        <a:latin typeface="Segoe UI Semibold"/>
                        <a:ea typeface="+mn-ea"/>
                        <a:cs typeface="Segoe UI Semibold"/>
                      </a:endParaRPr>
                    </a:p>
                  </a:txBody>
                  <a:tcPr marL="93247" marR="93247"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pPr marL="0" algn="l" defTabSz="932742" rtl="0" eaLnBrk="1" latinLnBrk="0" hangingPunct="1"/>
                      <a:endParaRPr lang="en-US" sz="1400" b="0" kern="1200">
                        <a:solidFill>
                          <a:srgbClr val="742774"/>
                        </a:solidFill>
                        <a:latin typeface="+mj-lt"/>
                        <a:ea typeface="+mn-ea"/>
                        <a:cs typeface="+mn-cs"/>
                      </a:endParaRPr>
                    </a:p>
                  </a:txBody>
                  <a:tcPr marL="91427" marR="91427" marT="45713" marB="45713"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75757A"/>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742774"/>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lang="en-US" sz="1600" b="0" kern="1200" dirty="0">
                          <a:latin typeface="Segoe UI Semibold"/>
                          <a:cs typeface="Segoe UI Semibold"/>
                        </a:rPr>
                        <a:t>Power Apps</a:t>
                      </a:r>
                      <a:br>
                        <a:rPr lang="en-US" sz="1600" b="0" kern="1200" dirty="0">
                          <a:latin typeface="Segoe UI Semibold"/>
                          <a:cs typeface="Segoe UI Semibold"/>
                        </a:rPr>
                      </a:br>
                      <a:r>
                        <a:rPr lang="en-US" sz="1600" b="0" kern="1200" dirty="0">
                          <a:latin typeface="Segoe UI Semibold"/>
                          <a:cs typeface="Segoe UI Semibold"/>
                        </a:rPr>
                        <a:t>per app plan</a:t>
                      </a:r>
                    </a:p>
                    <a:p>
                      <a:pPr marL="0" marR="0" lvl="0" indent="0" algn="ctr" defTabSz="932742" rtl="0" eaLnBrk="1" fontAlgn="auto" latinLnBrk="0" hangingPunct="1">
                        <a:lnSpc>
                          <a:spcPct val="100000"/>
                        </a:lnSpc>
                        <a:spcBef>
                          <a:spcPts val="1200"/>
                        </a:spcBef>
                        <a:spcAft>
                          <a:spcPts val="0"/>
                        </a:spcAft>
                        <a:buClrTx/>
                        <a:buSzTx/>
                        <a:buFontTx/>
                        <a:buNone/>
                        <a:tabLst/>
                        <a:defRPr/>
                      </a:pPr>
                      <a:r>
                        <a:rPr lang="en-US" sz="1400" b="0" kern="1200" baseline="30000" dirty="0">
                          <a:latin typeface="Segoe UI Semibold"/>
                          <a:cs typeface="Segoe UI Semibold"/>
                        </a:rPr>
                        <a:t>$5 per user/app/month</a:t>
                      </a:r>
                      <a:endParaRPr lang="en-US" sz="1400" b="0" kern="1200" baseline="30000" dirty="0">
                        <a:solidFill>
                          <a:schemeClr val="tx1"/>
                        </a:solidFill>
                        <a:latin typeface="Segoe UI Semibold"/>
                        <a:ea typeface="+mn-ea"/>
                        <a:cs typeface="Segoe UI Semibold"/>
                      </a:endParaRPr>
                    </a:p>
                  </a:txBody>
                  <a:tcPr marL="93247"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marL="0" algn="ctr" defTabSz="932742" rtl="0" eaLnBrk="1" latinLnBrk="0" hangingPunct="1">
                        <a:spcBef>
                          <a:spcPts val="600"/>
                        </a:spcBef>
                      </a:pPr>
                      <a:r>
                        <a:rPr kumimoji="0" lang="en-US" sz="1600" b="1" i="0" u="none" strike="noStrike" kern="0" cap="none" spc="0" normalizeH="0" baseline="30000" noProof="0" dirty="0">
                          <a:ln>
                            <a:noFill/>
                          </a:ln>
                          <a:solidFill>
                            <a:srgbClr val="FF0000"/>
                          </a:solidFill>
                          <a:effectLst/>
                          <a:uLnTx/>
                          <a:uFillTx/>
                          <a:latin typeface="+mn-lt"/>
                          <a:ea typeface="+mn-ea"/>
                          <a:cs typeface="+mn-cs"/>
                        </a:rPr>
                        <a:t>1</a:t>
                      </a:r>
                      <a:r>
                        <a:rPr lang="en-US" sz="1600" b="0" kern="1200" dirty="0">
                          <a:solidFill>
                            <a:schemeClr val="lt1"/>
                          </a:solidFill>
                          <a:latin typeface="Segoe UI Semibold"/>
                          <a:ea typeface="+mn-ea"/>
                          <a:cs typeface="Segoe UI Semibold"/>
                        </a:rPr>
                        <a:t>Power Apps</a:t>
                      </a:r>
                      <a:br>
                        <a:rPr lang="en-US" sz="1600" b="0" kern="1200" dirty="0">
                          <a:solidFill>
                            <a:schemeClr val="lt1"/>
                          </a:solidFill>
                          <a:latin typeface="Segoe UI Semibold"/>
                          <a:ea typeface="+mn-ea"/>
                          <a:cs typeface="Segoe UI Semibold"/>
                        </a:rPr>
                      </a:br>
                      <a:r>
                        <a:rPr lang="en-US" sz="1600" b="0" kern="1200" dirty="0">
                          <a:solidFill>
                            <a:schemeClr val="lt1"/>
                          </a:solidFill>
                          <a:latin typeface="Segoe UI Semibold"/>
                          <a:ea typeface="+mn-ea"/>
                          <a:cs typeface="Segoe UI Semibold"/>
                        </a:rPr>
                        <a:t>per app plan</a:t>
                      </a:r>
                    </a:p>
                    <a:p>
                      <a:pPr marL="0" marR="0" lvl="0" indent="0" algn="ctr" defTabSz="932742" rtl="0" eaLnBrk="1" fontAlgn="auto" latinLnBrk="0" hangingPunct="1">
                        <a:lnSpc>
                          <a:spcPct val="100000"/>
                        </a:lnSpc>
                        <a:spcBef>
                          <a:spcPts val="1200"/>
                        </a:spcBef>
                        <a:spcAft>
                          <a:spcPts val="0"/>
                        </a:spcAft>
                        <a:buClrTx/>
                        <a:buSzTx/>
                        <a:buFontTx/>
                        <a:buNone/>
                        <a:tabLst/>
                        <a:defRPr/>
                      </a:pPr>
                      <a:r>
                        <a:rPr lang="en-US" sz="1200" b="0" kern="1200" baseline="30000" dirty="0">
                          <a:solidFill>
                            <a:schemeClr val="lt1"/>
                          </a:solidFill>
                          <a:latin typeface="Segoe UI Semibold"/>
                          <a:ea typeface="+mn-ea"/>
                          <a:cs typeface="Segoe UI Semibold"/>
                        </a:rPr>
                        <a:t>$10 per user/app/month</a:t>
                      </a:r>
                    </a:p>
                  </a:txBody>
                  <a:tcPr marL="93247"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lang="en-US" sz="1600" b="0" kern="1200" dirty="0">
                          <a:latin typeface="Segoe UI Semibold"/>
                          <a:cs typeface="Segoe UI Semibold"/>
                        </a:rPr>
                        <a:t>Power Apps </a:t>
                      </a:r>
                      <a:br>
                        <a:rPr lang="en-US" sz="1600" b="0" kern="1200" dirty="0">
                          <a:latin typeface="Segoe UI Semibold"/>
                          <a:cs typeface="Segoe UI Semibold"/>
                        </a:rPr>
                      </a:br>
                      <a:r>
                        <a:rPr lang="en-US" sz="1600" b="0" kern="1200" dirty="0">
                          <a:latin typeface="Segoe UI Semibold"/>
                          <a:cs typeface="Segoe UI Semibold"/>
                        </a:rPr>
                        <a:t>per user plan</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0" kern="1200" baseline="30000" dirty="0">
                          <a:latin typeface="Segoe UI Semibold"/>
                          <a:cs typeface="Segoe UI Semibold"/>
                        </a:rPr>
                        <a:t>$20 per user/month</a:t>
                      </a:r>
                      <a:endParaRPr lang="en-US" sz="1400" b="0" kern="1200" dirty="0">
                        <a:solidFill>
                          <a:schemeClr val="tx1"/>
                        </a:solidFill>
                        <a:latin typeface="Segoe UI Semibold"/>
                        <a:ea typeface="+mn-ea"/>
                        <a:cs typeface="Segoe UI Semibold"/>
                      </a:endParaRP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600" b="0" kern="1200" dirty="0">
                          <a:solidFill>
                            <a:schemeClr val="lt1"/>
                          </a:solidFill>
                          <a:latin typeface="Segoe UI Semibold"/>
                          <a:ea typeface="+mn-ea"/>
                          <a:cs typeface="Segoe UI Semibold"/>
                        </a:rPr>
                        <a:t>Power Apps </a:t>
                      </a:r>
                      <a:br>
                        <a:rPr lang="en-US" sz="1600" b="0" kern="1200" dirty="0">
                          <a:solidFill>
                            <a:schemeClr val="lt1"/>
                          </a:solidFill>
                          <a:latin typeface="Segoe UI Semibold"/>
                          <a:ea typeface="+mn-ea"/>
                          <a:cs typeface="Segoe UI Semibold"/>
                        </a:rPr>
                      </a:br>
                      <a:r>
                        <a:rPr lang="en-US" sz="1600" b="0" kern="1200" dirty="0">
                          <a:solidFill>
                            <a:schemeClr val="lt1"/>
                          </a:solidFill>
                          <a:latin typeface="Segoe UI Semibold"/>
                          <a:ea typeface="+mn-ea"/>
                          <a:cs typeface="Segoe UI Semibold"/>
                        </a:rPr>
                        <a:t>per app PAYG meter</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0" kern="1200" baseline="30000" dirty="0">
                          <a:solidFill>
                            <a:schemeClr val="lt1"/>
                          </a:solidFill>
                          <a:latin typeface="Segoe UI Semibold"/>
                          <a:ea typeface="+mn-ea"/>
                          <a:cs typeface="Segoe UI Semibold"/>
                        </a:rPr>
                        <a:t>   $10 per active user per app/month </a:t>
                      </a: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1627406336"/>
                  </a:ext>
                </a:extLst>
              </a:tr>
              <a:tr h="258432">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u="none" kern="1200" dirty="0">
                          <a:solidFill>
                            <a:srgbClr val="002060"/>
                          </a:solidFill>
                          <a:latin typeface="+mj-lt"/>
                        </a:rPr>
                        <a:t>Run custom apps / portals</a:t>
                      </a:r>
                      <a:endParaRPr lang="en-US" sz="1400" b="1" i="0" u="none" kern="1200" dirty="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kern="1200">
                          <a:latin typeface="+mn-lt"/>
                        </a:rPr>
                        <a:t>Run custom apps</a:t>
                      </a:r>
                      <a:endParaRPr lang="en-US" sz="1200" b="0" kern="1200">
                        <a:solidFill>
                          <a:schemeClr val="tx1"/>
                        </a:solidFill>
                        <a:latin typeface="+mn-lt"/>
                        <a:ea typeface="+mn-ea"/>
                        <a:cs typeface="+mn-cs"/>
                      </a:endParaRP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solidFill>
                            <a:srgbClr val="0070C0"/>
                          </a:solidFill>
                          <a:latin typeface="+mn-lt"/>
                          <a:sym typeface="Wingdings" panose="05000000000000000000" pitchFamily="2" charset="2"/>
                        </a:rPr>
                        <a:t>1 app </a:t>
                      </a:r>
                      <a:r>
                        <a:rPr lang="en-US" sz="1200" b="1" kern="1200" noProof="0" dirty="0">
                          <a:solidFill>
                            <a:srgbClr val="0070C0"/>
                          </a:solidFill>
                          <a:latin typeface="+mn-lt"/>
                          <a:sym typeface="Wingdings" panose="05000000000000000000" pitchFamily="2" charset="2"/>
                        </a:rPr>
                        <a:t>or</a:t>
                      </a:r>
                      <a:endParaRPr lang="en-US" sz="1200" b="1" kern="1200" baseline="30000" noProof="0" dirty="0">
                        <a:solidFill>
                          <a:srgbClr val="0070C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solidFill>
                            <a:srgbClr val="0070C0"/>
                          </a:solidFill>
                          <a:latin typeface="+mn-lt"/>
                          <a:sym typeface="Wingdings" panose="05000000000000000000" pitchFamily="2" charset="2"/>
                        </a:rPr>
                        <a:t>2 app </a:t>
                      </a:r>
                      <a:r>
                        <a:rPr lang="en-US" sz="1200" b="1" kern="1200" noProof="0" dirty="0">
                          <a:solidFill>
                            <a:srgbClr val="0070C0"/>
                          </a:solidFill>
                          <a:latin typeface="+mn-lt"/>
                          <a:sym typeface="Wingdings" panose="05000000000000000000" pitchFamily="2" charset="2"/>
                        </a:rPr>
                        <a:t>and</a:t>
                      </a:r>
                      <a:endParaRPr lang="en-US" sz="1200" b="1" kern="1200" baseline="30000" noProof="0" dirty="0">
                        <a:solidFill>
                          <a:srgbClr val="0070C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latin typeface="+mn-lt"/>
                          <a:sym typeface="Wingdings" panose="05000000000000000000" pitchFamily="2" charset="2"/>
                        </a:rPr>
                        <a:t>Unlimited apps</a:t>
                      </a:r>
                      <a:endParaRPr lang="en-US" sz="1200" kern="1200" noProof="0" dirty="0">
                        <a:gradFill>
                          <a:gsLst>
                            <a:gs pos="0">
                              <a:srgbClr val="505050"/>
                            </a:gs>
                            <a:gs pos="100000">
                              <a:srgbClr val="505050"/>
                            </a:gs>
                          </a:gsLst>
                          <a:lin ang="5400000" scaled="0"/>
                        </a:gra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solidFill>
                            <a:srgbClr val="0070C0"/>
                          </a:solidFill>
                          <a:latin typeface="+mn-lt"/>
                          <a:ea typeface="+mn-ea"/>
                          <a:cs typeface="+mn-cs"/>
                        </a:rPr>
                        <a:t>1 app </a:t>
                      </a:r>
                      <a:r>
                        <a:rPr lang="en-US" sz="1200" b="1" kern="1200" noProof="0" dirty="0">
                          <a:solidFill>
                            <a:srgbClr val="0070C0"/>
                          </a:solidFill>
                          <a:latin typeface="+mn-lt"/>
                          <a:ea typeface="+mn-ea"/>
                          <a:cs typeface="+mn-cs"/>
                        </a:rPr>
                        <a:t>or</a:t>
                      </a: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41259492"/>
                  </a:ext>
                </a:extLst>
              </a:tr>
              <a:tr h="258432">
                <a:tc vMerge="1">
                  <a:txBody>
                    <a:bodyPr/>
                    <a:lstStyle/>
                    <a:p>
                      <a:pPr marL="0" algn="l" defTabSz="932742" rtl="0" eaLnBrk="1" latinLnBrk="0" hangingPunct="1"/>
                      <a:endParaRPr lang="en-US" sz="1300" b="1" i="0" u="none" kern="1200">
                        <a:solidFill>
                          <a:schemeClr val="bg1"/>
                        </a:solidFill>
                        <a:latin typeface="+mj-lt"/>
                        <a:ea typeface="+mn-ea"/>
                        <a:cs typeface="Segoe UI Semibold" panose="020B0702040204020203" pitchFamily="34" charset="0"/>
                      </a:endParaRPr>
                    </a:p>
                  </a:txBody>
                  <a:tcPr marL="93247" marR="93247" marT="0" marB="0" anchor="ctr">
                    <a:lnR w="19050" cap="flat" cmpd="sng" algn="ctr">
                      <a:noFill/>
                      <a:prstDash val="solid"/>
                      <a:round/>
                      <a:headEnd type="none" w="med" len="med"/>
                      <a:tailEnd type="none" w="med" len="med"/>
                    </a:lnR>
                    <a:solidFill>
                      <a:srgbClr val="737373"/>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b="0" kern="1200">
                          <a:solidFill>
                            <a:schemeClr val="tx1"/>
                          </a:solidFill>
                          <a:latin typeface="+mn-lt"/>
                          <a:ea typeface="+mn-ea"/>
                          <a:cs typeface="+mn-cs"/>
                        </a:rPr>
                        <a:t>Run custom portals</a:t>
                      </a: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solidFill>
                            <a:srgbClr val="0070C0"/>
                          </a:solidFill>
                          <a:latin typeface="+mn-lt"/>
                          <a:sym typeface="Wingdings" panose="05000000000000000000" pitchFamily="2" charset="2"/>
                        </a:rPr>
                        <a:t>1 custom portal</a:t>
                      </a:r>
                      <a:endParaRPr lang="en-US" sz="1200" b="0" kern="1200" baseline="30000" noProof="0" dirty="0">
                        <a:solidFill>
                          <a:srgbClr val="0070C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solidFill>
                            <a:srgbClr val="0070C0"/>
                          </a:solidFill>
                          <a:latin typeface="+mn-lt"/>
                          <a:sym typeface="Wingdings" panose="05000000000000000000" pitchFamily="2" charset="2"/>
                        </a:rPr>
                        <a:t>1 custom portal</a:t>
                      </a:r>
                      <a:endParaRPr lang="en-US" sz="1200" b="0" kern="1200" baseline="30000" noProof="0" dirty="0">
                        <a:solidFill>
                          <a:srgbClr val="0070C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latin typeface="+mn-lt"/>
                          <a:sym typeface="Wingdings" panose="05000000000000000000" pitchFamily="2" charset="2"/>
                        </a:rPr>
                        <a:t>Unlimited custom portals</a:t>
                      </a:r>
                      <a:endParaRPr lang="en-US" sz="1200" kern="1200" noProof="0" dirty="0">
                        <a:gradFill>
                          <a:gsLst>
                            <a:gs pos="0">
                              <a:srgbClr val="505050"/>
                            </a:gs>
                            <a:gs pos="100000">
                              <a:srgbClr val="505050"/>
                            </a:gs>
                          </a:gsLst>
                          <a:lin ang="5400000" scaled="0"/>
                        </a:gra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solidFill>
                            <a:srgbClr val="0070C0"/>
                          </a:solidFill>
                          <a:latin typeface="+mn-lt"/>
                          <a:ea typeface="+mn-ea"/>
                          <a:cs typeface="+mn-cs"/>
                        </a:rPr>
                        <a:t>1 custom portal</a:t>
                      </a: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2136242"/>
                  </a:ext>
                </a:extLst>
              </a:tr>
              <a:tr h="258432">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u="none" kern="1200">
                          <a:solidFill>
                            <a:srgbClr val="002060"/>
                          </a:solidFill>
                          <a:latin typeface="+mj-lt"/>
                        </a:rPr>
                        <a:t>Connect to your data</a:t>
                      </a:r>
                      <a:endParaRPr lang="en-US" sz="1400" b="1" i="0" u="none" kern="120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indent="53975" algn="l" defTabSz="932742" rtl="0" eaLnBrk="1" latinLnBrk="0" hangingPunct="1">
                        <a:lnSpc>
                          <a:spcPts val="1000"/>
                        </a:lnSpc>
                        <a:spcBef>
                          <a:spcPts val="0"/>
                        </a:spcBef>
                        <a:spcAft>
                          <a:spcPts val="0"/>
                        </a:spcAft>
                      </a:pPr>
                      <a:r>
                        <a:rPr lang="en-US" sz="1200" b="0" kern="1200">
                          <a:solidFill>
                            <a:schemeClr val="tx1"/>
                          </a:solidFill>
                          <a:latin typeface="+mn-lt"/>
                          <a:ea typeface="+mn-ea"/>
                          <a:cs typeface="+mn-cs"/>
                        </a:rPr>
                        <a:t>Standard connectors</a:t>
                      </a: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0C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0070C0"/>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44851210"/>
                  </a:ext>
                </a:extLst>
              </a:tr>
              <a:tr h="258432">
                <a:tc vMerge="1">
                  <a:txBody>
                    <a:bodyPr/>
                    <a:lstStyle/>
                    <a:p>
                      <a:endParaRPr lang="en-US"/>
                    </a:p>
                  </a:txBody>
                  <a:tcPr/>
                </a:tc>
                <a:tc>
                  <a:txBody>
                    <a:bodyPr/>
                    <a:lstStyle/>
                    <a:p>
                      <a:pPr marL="0" marR="0" indent="53975" algn="l" defTabSz="932742" rtl="0" eaLnBrk="1" latinLnBrk="0" hangingPunct="1">
                        <a:lnSpc>
                          <a:spcPts val="1000"/>
                        </a:lnSpc>
                        <a:spcBef>
                          <a:spcPts val="0"/>
                        </a:spcBef>
                        <a:spcAft>
                          <a:spcPts val="0"/>
                        </a:spcAft>
                      </a:pPr>
                      <a:r>
                        <a:rPr lang="en-US" sz="1200" b="0" kern="1200">
                          <a:solidFill>
                            <a:schemeClr val="tx1"/>
                          </a:solidFill>
                          <a:latin typeface="+mn-lt"/>
                          <a:ea typeface="+mn-ea"/>
                          <a:cs typeface="+mn-cs"/>
                        </a:rPr>
                        <a:t>Premium and custom connectors</a:t>
                      </a: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0C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0070C0"/>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6990187"/>
                  </a:ext>
                </a:extLst>
              </a:tr>
              <a:tr h="263564">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91427" marR="91427" marT="45713" marB="45713" vert="vert270">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75757A"/>
                    </a:solidFill>
                  </a:tcPr>
                </a:tc>
                <a:tc>
                  <a:txBody>
                    <a:bodyPr/>
                    <a:lstStyle/>
                    <a:p>
                      <a:pPr marL="0" marR="0" indent="53975" algn="l" defTabSz="932742" rtl="0" eaLnBrk="1" latinLnBrk="0" hangingPunct="1">
                        <a:lnSpc>
                          <a:spcPts val="1000"/>
                        </a:lnSpc>
                        <a:spcBef>
                          <a:spcPts val="0"/>
                        </a:spcBef>
                        <a:spcAft>
                          <a:spcPts val="0"/>
                        </a:spcAft>
                      </a:pPr>
                      <a:r>
                        <a:rPr lang="en-US" sz="1200" b="0" kern="1200">
                          <a:solidFill>
                            <a:schemeClr val="tx1"/>
                          </a:solidFill>
                          <a:latin typeface="+mn-lt"/>
                          <a:ea typeface="+mn-ea"/>
                          <a:cs typeface="+mn-cs"/>
                        </a:rPr>
                        <a:t>On premises data gateway</a:t>
                      </a: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0C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0070C0"/>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62594571"/>
                  </a:ext>
                </a:extLst>
              </a:tr>
              <a:tr h="258432">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u="none" kern="1200" dirty="0">
                          <a:solidFill>
                            <a:srgbClr val="002060"/>
                          </a:solidFill>
                          <a:latin typeface="+mj-lt"/>
                        </a:rPr>
                        <a:t>Store and manage data</a:t>
                      </a:r>
                      <a:endParaRPr lang="en-US" sz="1400" b="1" i="0" u="none" kern="1200" dirty="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200" b="0" kern="1200" dirty="0">
                          <a:solidFill>
                            <a:schemeClr val="tx1"/>
                          </a:solidFill>
                          <a:latin typeface="+mn-lt"/>
                        </a:rPr>
                        <a:t>Utilize </a:t>
                      </a:r>
                      <a:r>
                        <a:rPr lang="en-US" sz="1200" b="0" kern="1200" dirty="0" err="1">
                          <a:solidFill>
                            <a:schemeClr val="tx1"/>
                          </a:solidFill>
                          <a:latin typeface="+mn-lt"/>
                        </a:rPr>
                        <a:t>Dataverse</a:t>
                      </a:r>
                      <a:endParaRPr lang="en-US" sz="1200" b="0" kern="12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70C0"/>
                          </a:solidFill>
                          <a:effectLst/>
                          <a:uLnTx/>
                          <a:uFillTx/>
                          <a:latin typeface="+mn-lt"/>
                          <a:sym typeface="Wingdings" panose="05000000000000000000" pitchFamily="2" charset="2"/>
                        </a:rPr>
                        <a:t></a:t>
                      </a:r>
                      <a:endParaRPr lang="en-US" sz="1200" kern="1200" noProof="0" dirty="0">
                        <a:solidFill>
                          <a:srgbClr val="0070C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92468886"/>
                  </a:ext>
                </a:extLst>
              </a:tr>
              <a:tr h="258432">
                <a:tc vMerge="1">
                  <a:txBody>
                    <a:bodyPr/>
                    <a:lstStyle/>
                    <a:p>
                      <a:endParaRPr lang="en-US"/>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b="0" kern="1200" dirty="0">
                          <a:solidFill>
                            <a:schemeClr val="tx1"/>
                          </a:solidFill>
                          <a:latin typeface="+mn-lt"/>
                        </a:rPr>
                        <a:t>Create and access custom tables</a:t>
                      </a:r>
                      <a:endParaRPr lang="en-US" sz="1200" b="0" kern="12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a:t>
                      </a:r>
                      <a:endParaRPr kumimoji="0" lang="en-US" sz="1200" b="0" i="0" u="none" strike="noStrike" kern="1200" cap="none" spc="0" normalizeH="0" baseline="0" noProof="0" dirty="0">
                        <a:ln>
                          <a:noFill/>
                        </a:ln>
                        <a:solidFill>
                          <a:schemeClr val="accent5">
                            <a:lumMod val="75000"/>
                          </a:schemeClr>
                        </a:solidFill>
                        <a:effectLst/>
                        <a:uLnTx/>
                        <a:uFillTx/>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70C0"/>
                          </a:solidFill>
                          <a:effectLst/>
                          <a:uLnTx/>
                          <a:uFillTx/>
                          <a:latin typeface="+mn-lt"/>
                          <a:sym typeface="Wingdings" panose="05000000000000000000" pitchFamily="2" charset="2"/>
                        </a:rPr>
                        <a:t></a:t>
                      </a:r>
                      <a:endParaRPr lang="en-US" sz="1200" kern="1200" noProof="0" dirty="0">
                        <a:solidFill>
                          <a:srgbClr val="0070C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93047321"/>
                  </a:ext>
                </a:extLst>
              </a:tr>
              <a:tr h="258432">
                <a:tc vMerge="1">
                  <a:txBody>
                    <a:bodyPr/>
                    <a:lstStyle/>
                    <a:p>
                      <a:pPr marL="0" algn="ctr" defTabSz="932742" rtl="0" eaLnBrk="1" latinLnBrk="0" hangingPunct="1"/>
                      <a:endParaRPr lang="en-US" sz="1400" b="1" kern="1200">
                        <a:solidFill>
                          <a:schemeClr val="bg1"/>
                        </a:solidFill>
                        <a:latin typeface="+mj-lt"/>
                        <a:ea typeface="+mn-ea"/>
                        <a:cs typeface="+mn-cs"/>
                      </a:endParaRPr>
                    </a:p>
                  </a:txBody>
                  <a:tcPr marL="91427" marR="91427" marT="45713" marB="45713" vert="vert270">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75757A"/>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200" b="0" kern="1200" dirty="0">
                          <a:solidFill>
                            <a:schemeClr val="tx1"/>
                          </a:solidFill>
                          <a:latin typeface="+mn-lt"/>
                        </a:rPr>
                        <a:t>Dynamics 365 restricted </a:t>
                      </a:r>
                      <a:r>
                        <a:rPr lang="en-US" sz="1200" b="0" kern="1200" dirty="0">
                          <a:solidFill>
                            <a:schemeClr val="tx1"/>
                          </a:solidFill>
                          <a:latin typeface="+mn-lt"/>
                          <a:ea typeface="+mn-ea"/>
                          <a:cs typeface="+mn-cs"/>
                        </a:rPr>
                        <a:t>tables</a:t>
                      </a:r>
                      <a:r>
                        <a:rPr lang="en-US" sz="1200" b="0" kern="1200" dirty="0">
                          <a:solidFill>
                            <a:schemeClr val="tx1"/>
                          </a:solidFill>
                          <a:latin typeface="+mn-lt"/>
                        </a:rPr>
                        <a:t> access</a:t>
                      </a:r>
                      <a:endParaRPr lang="en-US" sz="1200" b="0" kern="12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mn-lt"/>
                          <a:sym typeface="Wingdings" panose="05000000000000000000" pitchFamily="2" charset="2"/>
                        </a:rPr>
                        <a:t>Read only</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latin typeface="+mn-lt"/>
                          <a:sym typeface="Wingdings" panose="05000000000000000000" pitchFamily="2" charset="2"/>
                        </a:rPr>
                        <a:t>Read only</a:t>
                      </a:r>
                      <a:endParaRPr lang="en-US" sz="1200" kern="1200" noProof="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latin typeface="+mn-lt"/>
                          <a:sym typeface="Wingdings" panose="05000000000000000000" pitchFamily="2" charset="2"/>
                        </a:rPr>
                        <a:t>Read only</a:t>
                      </a:r>
                      <a:endParaRPr kumimoji="0" lang="en-US" sz="1200" b="0" i="0" u="none" strike="noStrike" kern="1200" cap="none" spc="0" normalizeH="0" baseline="0" noProof="0">
                        <a:ln>
                          <a:noFill/>
                        </a:ln>
                        <a:solidFill>
                          <a:schemeClr val="accent5">
                            <a:lumMod val="75000"/>
                          </a:schemeClr>
                        </a:solidFill>
                        <a:effectLst/>
                        <a:uLnTx/>
                        <a:uFillTx/>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70C0"/>
                          </a:solidFill>
                          <a:effectLst/>
                          <a:uLnTx/>
                          <a:uFillTx/>
                          <a:latin typeface="+mn-lt"/>
                          <a:sym typeface="Wingdings" panose="05000000000000000000" pitchFamily="2" charset="2"/>
                        </a:rPr>
                        <a:t>Read only</a:t>
                      </a:r>
                      <a:endParaRPr lang="en-US" sz="1200" kern="1200" noProof="0" dirty="0">
                        <a:solidFill>
                          <a:srgbClr val="0070C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7107444"/>
                  </a:ext>
                </a:extLst>
              </a:tr>
              <a:tr h="258432">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u="none" kern="1200">
                          <a:solidFill>
                            <a:srgbClr val="002060"/>
                          </a:solidFill>
                          <a:latin typeface="+mj-lt"/>
                        </a:rPr>
                        <a:t>Execute flows</a:t>
                      </a:r>
                      <a:endParaRPr lang="en-US" sz="1400" b="1" i="0" u="none" kern="120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indent="53975" algn="l" defTabSz="932742" rtl="0" eaLnBrk="1" latinLnBrk="0" hangingPunct="1">
                        <a:lnSpc>
                          <a:spcPts val="1000"/>
                        </a:lnSpc>
                        <a:spcBef>
                          <a:spcPts val="0"/>
                        </a:spcBef>
                        <a:spcAft>
                          <a:spcPts val="0"/>
                        </a:spcAft>
                      </a:pPr>
                      <a:r>
                        <a:rPr lang="en-US" sz="1200" b="0" kern="1200" dirty="0">
                          <a:solidFill>
                            <a:schemeClr val="tx1"/>
                          </a:solidFill>
                          <a:latin typeface="+mn-lt"/>
                          <a:ea typeface="+mn-ea"/>
                          <a:cs typeface="+mn-cs"/>
                        </a:rPr>
                        <a:t>Automated, instant, and scheduled flows</a:t>
                      </a:r>
                      <a:r>
                        <a:rPr lang="en-US" sz="1200" b="0" kern="1200" baseline="30000" dirty="0">
                          <a:solidFill>
                            <a:schemeClr val="tx1"/>
                          </a:solidFill>
                          <a:latin typeface="+mn-lt"/>
                          <a:ea typeface="+mn-ea"/>
                          <a:cs typeface="+mn-cs"/>
                        </a:rPr>
                        <a:t>2</a:t>
                      </a: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sng" strike="noStrike" kern="1200" cap="none" spc="0" normalizeH="0" baseline="0" noProof="0" dirty="0">
                          <a:ln>
                            <a:noFill/>
                          </a:ln>
                          <a:effectLst/>
                          <a:uLnTx/>
                          <a:uFillTx/>
                          <a:latin typeface="+mn-lt"/>
                          <a:sym typeface="Wingdings" panose="05000000000000000000" pitchFamily="2" charset="2"/>
                        </a:rPr>
                        <a:t>Within app context</a:t>
                      </a: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sng" strike="noStrike" kern="1200" cap="none" spc="0" normalizeH="0" baseline="0" noProof="0" dirty="0">
                          <a:ln>
                            <a:noFill/>
                          </a:ln>
                          <a:effectLst/>
                          <a:uLnTx/>
                          <a:uFillTx/>
                          <a:latin typeface="+mn-lt"/>
                          <a:sym typeface="Wingdings" panose="05000000000000000000" pitchFamily="2" charset="2"/>
                        </a:rPr>
                        <a:t>Within app context</a:t>
                      </a:r>
                    </a:p>
                  </a:txBody>
                  <a:tcPr marL="93233" marR="93233" marT="18649" marB="18649"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sng" strike="noStrike" kern="1200" cap="none" spc="0" normalizeH="0" baseline="0" noProof="0" dirty="0">
                          <a:ln>
                            <a:noFill/>
                          </a:ln>
                          <a:effectLst/>
                          <a:uLnTx/>
                          <a:uFillTx/>
                          <a:latin typeface="+mn-lt"/>
                          <a:sym typeface="Wingdings" panose="05000000000000000000" pitchFamily="2" charset="2"/>
                        </a:rPr>
                        <a:t>Within app context</a:t>
                      </a:r>
                    </a:p>
                  </a:txBody>
                  <a:tcPr marL="93233" marR="93233" marT="18649" marB="18649"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sng" strike="noStrike" kern="1200" cap="none" spc="0" normalizeH="0" baseline="0" noProof="0" dirty="0">
                          <a:ln>
                            <a:noFill/>
                          </a:ln>
                          <a:effectLst/>
                          <a:uLnTx/>
                          <a:uFillTx/>
                          <a:latin typeface="+mn-lt"/>
                          <a:sym typeface="Wingdings" panose="05000000000000000000" pitchFamily="2" charset="2"/>
                        </a:rPr>
                        <a:t>Within app context</a:t>
                      </a:r>
                    </a:p>
                  </a:txBody>
                  <a:tcPr marL="93233" marR="93233" marT="18649" marB="18649" anchor="ctr">
                    <a:lnL w="6350" cap="flat" cmpd="sng" algn="ctr">
                      <a:no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98867901"/>
                  </a:ext>
                </a:extLst>
              </a:tr>
              <a:tr h="345738">
                <a:tc vMerge="1">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endParaRPr lang="en-US" sz="1100" b="0" i="0" u="none" kern="1200">
                        <a:solidFill>
                          <a:schemeClr val="tx1"/>
                        </a:solidFill>
                        <a:latin typeface="Segoe UI Semibold" panose="020B0702040204020203" pitchFamily="34" charset="0"/>
                        <a:ea typeface="+mn-ea"/>
                        <a:cs typeface="Segoe UI Semibold" panose="020B0702040204020203" pitchFamily="34" charset="0"/>
                      </a:endParaRPr>
                    </a:p>
                  </a:txBody>
                  <a:tcPr marL="93260" marR="93260" marT="0" marB="0" anchor="ctr">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FFFFFF">
                          <a:lumMod val="65000"/>
                        </a:srgbClr>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75757A"/>
                    </a:solidFill>
                  </a:tcPr>
                </a:tc>
                <a:tc>
                  <a:txBody>
                    <a:bodyPr/>
                    <a:lstStyle/>
                    <a:p>
                      <a:pPr marL="0" marR="0" indent="53975" algn="l" rtl="0" eaLnBrk="1" latinLnBrk="0" hangingPunct="1">
                        <a:lnSpc>
                          <a:spcPts val="1000"/>
                        </a:lnSpc>
                        <a:spcBef>
                          <a:spcPts val="0"/>
                        </a:spcBef>
                        <a:spcAft>
                          <a:spcPts val="0"/>
                        </a:spcAft>
                      </a:pPr>
                      <a:r>
                        <a:rPr lang="en-US" sz="1200" b="0" kern="1200">
                          <a:solidFill>
                            <a:schemeClr val="tx1"/>
                          </a:solidFill>
                          <a:latin typeface="+mn-lt"/>
                          <a:ea typeface="+mn-ea"/>
                          <a:cs typeface="+mn-cs"/>
                        </a:rPr>
                        <a:t>Business process flows </a:t>
                      </a: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latin typeface="+mn-lt"/>
                          <a:sym typeface="Wingdings" panose="05000000000000000000" pitchFamily="2" charset="2"/>
                        </a:rPr>
                        <a:t></a:t>
                      </a:r>
                      <a:endParaRPr kumimoji="0" lang="en-US" sz="1200" b="0" i="0" u="none" strike="noStrike" kern="1200" cap="none" spc="0" normalizeH="0" baseline="0">
                        <a:ln>
                          <a:noFill/>
                        </a:ln>
                        <a:solidFill>
                          <a:schemeClr val="accent5">
                            <a:lumMod val="75000"/>
                          </a:schemeClr>
                        </a:solidFill>
                        <a:effectLst/>
                        <a:uLnTx/>
                        <a:uFillTx/>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LID4096" dirty="0"/>
                    </a:p>
                  </a:txBody>
                  <a:tcPr/>
                </a:tc>
                <a:tc vMerge="1">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latin typeface="+mn-lt"/>
                          <a:sym typeface="Wingdings" panose="05000000000000000000" pitchFamily="2" charset="2"/>
                        </a:rPr>
                        <a:t></a:t>
                      </a:r>
                      <a:endParaRPr kumimoji="0" lang="en-US" sz="1200" b="0" i="0" u="none" strike="noStrike" kern="1200" cap="none" spc="0" normalizeH="0" baseline="0">
                        <a:ln>
                          <a:noFill/>
                        </a:ln>
                        <a:solidFill>
                          <a:schemeClr val="accent5">
                            <a:lumMod val="75000"/>
                          </a:schemeClr>
                        </a:solidFill>
                        <a:effectLst/>
                        <a:uLnTx/>
                        <a:uFillTx/>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LID4096"/>
                    </a:p>
                  </a:txBody>
                  <a:tcPr/>
                </a:tc>
                <a:extLst>
                  <a:ext uri="{0D108BD9-81ED-4DB2-BD59-A6C34878D82A}">
                    <a16:rowId xmlns:a16="http://schemas.microsoft.com/office/drawing/2014/main" val="1543722583"/>
                  </a:ext>
                </a:extLst>
              </a:tr>
              <a:tr h="258432">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u="none" kern="1200" dirty="0">
                          <a:solidFill>
                            <a:srgbClr val="002060"/>
                          </a:solidFill>
                          <a:latin typeface="+mj-lt"/>
                        </a:rPr>
                        <a:t>Per license capacity</a:t>
                      </a:r>
                      <a:r>
                        <a:rPr lang="en-US" sz="1400" u="none" kern="1200" baseline="30000" dirty="0">
                          <a:solidFill>
                            <a:srgbClr val="002060"/>
                          </a:solidFill>
                          <a:latin typeface="+mj-lt"/>
                        </a:rPr>
                        <a:t>3</a:t>
                      </a:r>
                      <a:endParaRPr lang="en-US" sz="1400" b="1" i="0" u="none" kern="1200" baseline="30000" dirty="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200" b="0" kern="1200" dirty="0" err="1">
                          <a:solidFill>
                            <a:schemeClr val="tx1"/>
                          </a:solidFill>
                          <a:latin typeface="+mn-lt"/>
                        </a:rPr>
                        <a:t>Dataverse</a:t>
                      </a:r>
                      <a:r>
                        <a:rPr lang="en-US" sz="1200" b="0" kern="1200" dirty="0">
                          <a:solidFill>
                            <a:schemeClr val="tx1"/>
                          </a:solidFill>
                          <a:latin typeface="+mn-lt"/>
                        </a:rPr>
                        <a:t> Database Capacity</a:t>
                      </a:r>
                      <a:r>
                        <a:rPr lang="en-US" sz="1200" b="0" kern="1200" baseline="30000" dirty="0">
                          <a:solidFill>
                            <a:schemeClr val="tx1"/>
                          </a:solidFill>
                          <a:latin typeface="+mn-lt"/>
                        </a:rPr>
                        <a:t>3</a:t>
                      </a:r>
                      <a:endParaRPr lang="en-US" sz="1200" b="0" kern="1200" baseline="300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ctr" defTabSz="932742" rtl="0" eaLnBrk="1" latinLnBrk="0" hangingPunct="1"/>
                      <a:r>
                        <a:rPr lang="en-US" sz="1200" kern="1200" dirty="0">
                          <a:latin typeface="+mn-lt"/>
                        </a:rPr>
                        <a:t>50 MB</a:t>
                      </a:r>
                      <a:endParaRPr lang="en-US" sz="1200"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dirty="0">
                          <a:latin typeface="+mn-lt"/>
                        </a:rPr>
                        <a:t>50 MB</a:t>
                      </a:r>
                      <a:endParaRPr lang="en-US" sz="1200" kern="1200" dirty="0">
                        <a:solidFill>
                          <a:schemeClr val="accent5">
                            <a:lumMod val="75000"/>
                          </a:schemeClr>
                        </a:solidFill>
                        <a:latin typeface="+mn-lt"/>
                        <a:ea typeface="+mn-ea"/>
                        <a:cs typeface="+mn-cs"/>
                      </a:endParaRPr>
                    </a:p>
                  </a:txBody>
                  <a:tcPr marL="93233" marR="93233" marT="18649" marB="18649"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latin typeface="+mn-lt"/>
                        </a:rPr>
                        <a:t>250 MB</a:t>
                      </a:r>
                      <a:endParaRPr lang="en-US" sz="1200" kern="1200" noProof="0" dirty="0">
                        <a:solidFill>
                          <a:schemeClr val="tx1"/>
                        </a:solidFill>
                        <a:latin typeface="+mn-lt"/>
                        <a:ea typeface="+mn-ea"/>
                        <a:cs typeface="+mn-cs"/>
                      </a:endParaRPr>
                    </a:p>
                  </a:txBody>
                  <a:tcPr marL="93233" marR="93233" marT="18649" marB="18649"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ctr" defTabSz="932742" rtl="0" eaLnBrk="1" latinLnBrk="0" hangingPunct="1"/>
                      <a:r>
                        <a:rPr lang="en-US" sz="1200" kern="1200" dirty="0">
                          <a:solidFill>
                            <a:srgbClr val="0070C0"/>
                          </a:solidFill>
                          <a:latin typeface="+mn-lt"/>
                        </a:rPr>
                        <a:t>1 GB per PAYG env</a:t>
                      </a:r>
                      <a:endParaRPr lang="en-US" sz="1200" kern="1200" dirty="0">
                        <a:solidFill>
                          <a:srgbClr val="0070C0"/>
                        </a:solidFill>
                        <a:latin typeface="+mn-lt"/>
                        <a:ea typeface="+mn-ea"/>
                        <a:cs typeface="+mn-cs"/>
                      </a:endParaRPr>
                    </a:p>
                  </a:txBody>
                  <a:tcPr marL="93233" marR="93233" marT="18649" marB="18649" anchor="ctr">
                    <a:lnL w="6350" cap="flat" cmpd="sng" algn="ctr">
                      <a:no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672962"/>
                  </a:ext>
                </a:extLst>
              </a:tr>
              <a:tr h="258432">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91427" marR="91427" marT="45713" marB="45713"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scheme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b="0" kern="1200" dirty="0" err="1">
                          <a:solidFill>
                            <a:schemeClr val="tx1"/>
                          </a:solidFill>
                          <a:latin typeface="+mn-lt"/>
                        </a:rPr>
                        <a:t>Dataverse</a:t>
                      </a:r>
                      <a:r>
                        <a:rPr lang="en-US" sz="1200" b="0" kern="1200" dirty="0">
                          <a:solidFill>
                            <a:schemeClr val="tx1"/>
                          </a:solidFill>
                          <a:latin typeface="+mn-lt"/>
                        </a:rPr>
                        <a:t> File Capacity</a:t>
                      </a:r>
                      <a:r>
                        <a:rPr lang="en-US" sz="1200" b="0" kern="1200" baseline="30000" dirty="0">
                          <a:solidFill>
                            <a:schemeClr val="tx1"/>
                          </a:solidFill>
                          <a:latin typeface="+mn-lt"/>
                        </a:rPr>
                        <a:t>3</a:t>
                      </a:r>
                      <a:endParaRPr lang="en-US" sz="1200" b="0" kern="1200" baseline="300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ctr" defTabSz="932742" rtl="0" eaLnBrk="1" latinLnBrk="0" hangingPunct="1"/>
                      <a:r>
                        <a:rPr lang="en-US" sz="1200" kern="1200" dirty="0">
                          <a:latin typeface="+mn-lt"/>
                        </a:rPr>
                        <a:t>400 MB</a:t>
                      </a:r>
                      <a:endParaRPr lang="en-US" sz="1200"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dirty="0">
                          <a:latin typeface="+mn-lt"/>
                        </a:rPr>
                        <a:t>400 MB</a:t>
                      </a:r>
                      <a:endParaRPr lang="en-US" sz="1200"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latin typeface="+mn-lt"/>
                        </a:rPr>
                        <a:t>2 GB</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ctr" defTabSz="932742" rtl="0" eaLnBrk="1" latinLnBrk="0" hangingPunct="1"/>
                      <a:r>
                        <a:rPr lang="en-US" sz="1200" kern="1200" dirty="0">
                          <a:solidFill>
                            <a:srgbClr val="0070C0"/>
                          </a:solidFill>
                          <a:latin typeface="+mn-lt"/>
                        </a:rPr>
                        <a:t>1 GB </a:t>
                      </a:r>
                      <a:r>
                        <a:rPr lang="en-US" sz="1200" kern="1200" dirty="0">
                          <a:solidFill>
                            <a:srgbClr val="0070C0"/>
                          </a:solidFill>
                          <a:latin typeface="Segoe UI"/>
                          <a:ea typeface="+mn-ea"/>
                          <a:cs typeface="+mn-cs"/>
                        </a:rPr>
                        <a:t>per </a:t>
                      </a:r>
                      <a:r>
                        <a:rPr lang="en-US" sz="1200" kern="1200" dirty="0">
                          <a:solidFill>
                            <a:srgbClr val="0070C0"/>
                          </a:solidFill>
                          <a:latin typeface="+mn-lt"/>
                          <a:ea typeface="+mn-ea"/>
                          <a:cs typeface="+mn-cs"/>
                        </a:rPr>
                        <a:t>PAYG</a:t>
                      </a:r>
                      <a:r>
                        <a:rPr lang="en-US" sz="1200" kern="1200" dirty="0">
                          <a:solidFill>
                            <a:srgbClr val="0070C0"/>
                          </a:solidFill>
                          <a:latin typeface="Segoe UI"/>
                          <a:ea typeface="+mn-ea"/>
                          <a:cs typeface="+mn-cs"/>
                        </a:rPr>
                        <a:t> env</a:t>
                      </a:r>
                      <a:endParaRPr lang="en-US" sz="1200" kern="1200" dirty="0">
                        <a:solidFill>
                          <a:srgbClr val="0070C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04484133"/>
                  </a:ext>
                </a:extLst>
              </a:tr>
              <a:tr h="258432">
                <a:tc vMerge="1">
                  <a:txBody>
                    <a:bodyPr/>
                    <a:lstStyle/>
                    <a:p>
                      <a:pPr marL="0" algn="l" defTabSz="932742" rtl="0" eaLnBrk="1" latinLnBrk="0" hangingPunct="1"/>
                      <a:endParaRPr lang="en-US" sz="1400" b="1" i="0" u="none" kern="1200" baseline="30000">
                        <a:solidFill>
                          <a:schemeClr val="tx2"/>
                        </a:solidFill>
                        <a:latin typeface="+mj-lt"/>
                        <a:ea typeface="+mn-ea"/>
                        <a:cs typeface="Segoe UI Semibold" panose="020B0702040204020203" pitchFamily="34" charset="0"/>
                      </a:endParaRPr>
                    </a:p>
                  </a:txBody>
                  <a:tcPr marL="93247" marR="93247"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200" b="0" kern="1200" dirty="0">
                          <a:solidFill>
                            <a:schemeClr val="tx1"/>
                          </a:solidFill>
                          <a:latin typeface="+mn-lt"/>
                          <a:ea typeface="+mn-ea"/>
                          <a:cs typeface="+mn-cs"/>
                        </a:rPr>
                        <a:t>Daily Power Platform requests</a:t>
                      </a:r>
                      <a:r>
                        <a:rPr lang="en-US" sz="1200" b="0" kern="1200" baseline="30000" dirty="0">
                          <a:solidFill>
                            <a:schemeClr val="tx1"/>
                          </a:solidFill>
                          <a:latin typeface="+mn-lt"/>
                        </a:rPr>
                        <a:t>4</a:t>
                      </a:r>
                      <a:endParaRPr lang="en-US" sz="1200" b="0" kern="1200" baseline="300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ctr" defTabSz="932742" rtl="0" eaLnBrk="1" latinLnBrk="0" hangingPunct="1"/>
                      <a:r>
                        <a:rPr lang="en-US" sz="1200" kern="1200" dirty="0">
                          <a:latin typeface="+mn-lt"/>
                        </a:rPr>
                        <a:t>6,000</a:t>
                      </a:r>
                      <a:endParaRPr lang="en-US" sz="1200"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ctr" defTabSz="932742" rtl="0" eaLnBrk="1" latinLnBrk="0" hangingPunct="1"/>
                      <a:r>
                        <a:rPr lang="en-US" sz="1200" kern="1200" dirty="0">
                          <a:latin typeface="+mn-lt"/>
                        </a:rPr>
                        <a:t>6,000</a:t>
                      </a:r>
                      <a:endParaRPr lang="en-US" sz="1200"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latin typeface="+mn-lt"/>
                        </a:rPr>
                        <a:t>40,000</a:t>
                      </a:r>
                      <a:endParaRPr lang="en-US" sz="12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70C0"/>
                          </a:solidFill>
                          <a:effectLst/>
                          <a:uLnTx/>
                          <a:uFillTx/>
                          <a:latin typeface="+mn-lt"/>
                          <a:ea typeface="+mn-ea"/>
                          <a:cs typeface="+mn-cs"/>
                        </a:rPr>
                        <a:t>6,000</a:t>
                      </a: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92609921"/>
                  </a:ext>
                </a:extLst>
              </a:tr>
              <a:tr h="266032">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u="none" kern="1200">
                          <a:solidFill>
                            <a:srgbClr val="002060"/>
                          </a:solidFill>
                          <a:latin typeface="+mj-lt"/>
                        </a:rPr>
                        <a:t>Infuse AI</a:t>
                      </a:r>
                      <a:endParaRPr lang="en-US" sz="1400" b="1" i="0" u="none" kern="120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kern="1200">
                          <a:latin typeface="+mn-lt"/>
                        </a:rPr>
                        <a:t>AI Builder capacity add-on</a:t>
                      </a:r>
                      <a:endParaRPr lang="en-US" sz="1200" b="0" kern="1200" baseline="3000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latin typeface="+mn-lt"/>
                          <a:sym typeface="Wingdings" panose="05000000000000000000" pitchFamily="2" charset="2"/>
                        </a:rPr>
                        <a:t>$</a:t>
                      </a:r>
                      <a:endParaRPr lang="en-US" sz="1200" b="1"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latin typeface="+mn-lt"/>
                          <a:sym typeface="Wingdings" panose="05000000000000000000" pitchFamily="2" charset="2"/>
                        </a:rPr>
                        <a:t>$</a:t>
                      </a:r>
                      <a:endParaRPr lang="en-US" sz="1200" b="1"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1200" noProof="0" dirty="0">
                          <a:latin typeface="+mn-lt"/>
                          <a:sym typeface="Wingdings" panose="05000000000000000000" pitchFamily="2" charset="2"/>
                        </a:rPr>
                        <a:t>$</a:t>
                      </a:r>
                      <a:endParaRPr lang="en-US" sz="1200" b="1"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70C0"/>
                          </a:solidFill>
                          <a:effectLst/>
                          <a:uLnTx/>
                          <a:uFillTx/>
                          <a:latin typeface="+mn-lt"/>
                          <a:ea typeface="+mn-ea"/>
                          <a:cs typeface="+mn-cs"/>
                          <a:sym typeface="Wingdings" panose="05000000000000000000" pitchFamily="2" charset="2"/>
                        </a:rPr>
                        <a:t>$</a:t>
                      </a:r>
                      <a:endParaRPr kumimoji="0" lang="en-US" sz="1200" u="none" strike="noStrike" kern="1200" cap="none" spc="0" normalizeH="0" baseline="0" noProof="0" dirty="0">
                        <a:ln>
                          <a:noFill/>
                        </a:ln>
                        <a:solidFill>
                          <a:srgbClr val="0070C0"/>
                        </a:solidFill>
                        <a:effectLst/>
                        <a:uLnTx/>
                        <a:uFillTx/>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85558201"/>
                  </a:ext>
                </a:extLst>
              </a:tr>
            </a:tbl>
          </a:graphicData>
        </a:graphic>
      </p:graphicFrame>
      <p:sp>
        <p:nvSpPr>
          <p:cNvPr id="2" name="TextBox 1">
            <a:extLst>
              <a:ext uri="{FF2B5EF4-FFF2-40B4-BE49-F238E27FC236}">
                <a16:creationId xmlns:a16="http://schemas.microsoft.com/office/drawing/2014/main" id="{64190F13-D99E-412F-997F-429E8E683EF1}"/>
              </a:ext>
            </a:extLst>
          </p:cNvPr>
          <p:cNvSpPr txBox="1"/>
          <p:nvPr/>
        </p:nvSpPr>
        <p:spPr>
          <a:xfrm>
            <a:off x="537179" y="6004718"/>
            <a:ext cx="11430742" cy="800167"/>
          </a:xfrm>
          <a:prstGeom prst="rect">
            <a:avLst/>
          </a:prstGeom>
          <a:noFill/>
        </p:spPr>
        <p:txBody>
          <a:bodyPr wrap="square" lIns="0" tIns="91414" rIns="91414" bIns="91414" rtlCol="0" anchor="t">
            <a:spAutoFit/>
          </a:bodyPr>
          <a:lstStyle/>
          <a:p>
            <a:pPr defTabSz="914049">
              <a:defRPr/>
            </a:pPr>
            <a:r>
              <a:rPr lang="en-US" sz="1000" b="1" kern="0" baseline="30000" dirty="0">
                <a:solidFill>
                  <a:srgbClr val="FF0000"/>
                </a:solidFill>
              </a:rPr>
              <a:t>1</a:t>
            </a:r>
            <a:r>
              <a:rPr lang="en-US" sz="1000" kern="0" baseline="30000" dirty="0"/>
              <a:t> </a:t>
            </a:r>
            <a:r>
              <a:rPr lang="en-US" sz="1000" kern="0" dirty="0"/>
              <a:t>The legacy Power Apps per app plan ($10) will remain on the pricelist through March 31, 2022. Please refer to the FAQ located here for details.  </a:t>
            </a:r>
            <a:endParaRPr lang="en-US" sz="1000" kern="0" baseline="30000" dirty="0"/>
          </a:p>
          <a:p>
            <a:pPr defTabSz="914049">
              <a:defRPr/>
            </a:pPr>
            <a:r>
              <a:rPr kumimoji="0" lang="en-US" sz="1000" b="0" i="0" u="none" strike="noStrike" kern="0" cap="none" spc="0" normalizeH="0" baseline="30000" noProof="0" dirty="0">
                <a:ln>
                  <a:noFill/>
                </a:ln>
                <a:effectLst/>
                <a:uLnTx/>
                <a:uFillTx/>
              </a:rPr>
              <a:t>2 </a:t>
            </a:r>
            <a:r>
              <a:rPr lang="en-US" sz="1000" kern="0" dirty="0"/>
              <a:t>Power Automate use rights included with Power Apps standalone plans do not include RPA functionality, which requires a separate purchase of Power Automate per user with attended RPA plan</a:t>
            </a:r>
          </a:p>
          <a:p>
            <a:pPr marL="0" marR="0" lvl="0" indent="0" defTabSz="914049"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30000" noProof="0" dirty="0">
                <a:ln>
                  <a:noFill/>
                </a:ln>
                <a:solidFill>
                  <a:srgbClr val="000000"/>
                </a:solidFill>
                <a:effectLst/>
                <a:uLnTx/>
                <a:uFillTx/>
              </a:rPr>
              <a:t>2</a:t>
            </a:r>
            <a:r>
              <a:rPr lang="en-US" sz="1000" kern="0" dirty="0" err="1">
                <a:solidFill>
                  <a:srgbClr val="000000"/>
                </a:solidFill>
              </a:rPr>
              <a:t>Dataverse</a:t>
            </a:r>
            <a:r>
              <a:rPr lang="en-US" sz="1000" kern="0" dirty="0">
                <a:solidFill>
                  <a:srgbClr val="000000"/>
                </a:solidFill>
              </a:rPr>
              <a:t> </a:t>
            </a:r>
            <a:r>
              <a:rPr kumimoji="0" lang="en-US" sz="1000" b="0" i="0" u="none" strike="noStrike" kern="0" cap="none" spc="0" normalizeH="0" baseline="0" noProof="0" dirty="0">
                <a:ln>
                  <a:noFill/>
                </a:ln>
                <a:solidFill>
                  <a:srgbClr val="000000"/>
                </a:solidFill>
                <a:effectLst/>
                <a:uLnTx/>
                <a:uFillTx/>
              </a:rPr>
              <a:t>database and file capacity entitlements are pooled at the tenant level</a:t>
            </a:r>
            <a:endParaRPr kumimoji="0" lang="en-US" sz="1000" b="0" i="0" u="none" strike="noStrike" kern="0" cap="none" spc="0" normalizeH="0" baseline="0" noProof="0" dirty="0">
              <a:ln>
                <a:noFill/>
              </a:ln>
              <a:solidFill>
                <a:srgbClr val="000000"/>
              </a:solidFill>
              <a:effectLst/>
              <a:uLnTx/>
              <a:uFillTx/>
              <a:cs typeface="Segoe UI"/>
            </a:endParaRPr>
          </a:p>
          <a:p>
            <a:pPr marL="0" marR="0" lvl="0" indent="0" defTabSz="914049" eaLnBrk="1" fontAlgn="auto" latinLnBrk="0" hangingPunct="1">
              <a:lnSpc>
                <a:spcPct val="100000"/>
              </a:lnSpc>
              <a:spcBef>
                <a:spcPts val="0"/>
              </a:spcBef>
              <a:spcAft>
                <a:spcPts val="0"/>
              </a:spcAft>
              <a:buClrTx/>
              <a:buSzTx/>
              <a:buFontTx/>
              <a:buNone/>
              <a:tabLst/>
              <a:defRPr/>
            </a:pPr>
            <a:r>
              <a:rPr lang="en-US" sz="1000" kern="0" baseline="30000" dirty="0">
                <a:solidFill>
                  <a:srgbClr val="000000"/>
                </a:solidFill>
              </a:rPr>
              <a:t>3</a:t>
            </a:r>
            <a:r>
              <a:rPr kumimoji="0" lang="en-US" sz="1000" b="0" i="0" u="none" strike="noStrike" kern="0" cap="none" spc="0" normalizeH="0" baseline="0" noProof="0" dirty="0">
                <a:ln>
                  <a:noFill/>
                </a:ln>
                <a:solidFill>
                  <a:srgbClr val="000000"/>
                </a:solidFill>
                <a:effectLst/>
                <a:uLnTx/>
                <a:uFillTx/>
              </a:rPr>
              <a:t>Service limits are published at </a:t>
            </a:r>
            <a:r>
              <a:rPr kumimoji="0" lang="en-US" sz="1000" b="0" i="0" u="sng" strike="noStrike" kern="0" cap="none" spc="0" normalizeH="0" baseline="0" noProof="0" dirty="0">
                <a:ln>
                  <a:noFill/>
                </a:ln>
                <a:solidFill>
                  <a:srgbClr val="0563C1"/>
                </a:solidFill>
                <a:effectLst/>
                <a:uLnTx/>
                <a:uFillTx/>
                <a:ea typeface="Calibri" panose="020F0502020204030204" pitchFamily="34" charset="0"/>
                <a:hlinkClick r:id="rId4">
                  <a:extLst>
                    <a:ext uri="{A12FA001-AC4F-418D-AE19-62706E023703}">
                      <ahyp:hlinkClr xmlns:ahyp="http://schemas.microsoft.com/office/drawing/2018/hyperlinkcolor" val="tx"/>
                    </a:ext>
                  </a:extLst>
                </a:hlinkClick>
              </a:rPr>
              <a:t>http://aka.ms/platformlimits</a:t>
            </a:r>
            <a:r>
              <a:rPr kumimoji="0" lang="en-US" sz="1000" b="0" i="0" u="sng" strike="noStrike" kern="0" cap="none" spc="0" normalizeH="0" baseline="0" noProof="0" dirty="0">
                <a:ln>
                  <a:noFill/>
                </a:ln>
                <a:solidFill>
                  <a:srgbClr val="0563C1"/>
                </a:solidFill>
                <a:effectLst/>
                <a:uLnTx/>
                <a:uFillTx/>
                <a:ea typeface="Calibri" panose="020F0502020204030204" pitchFamily="34" charset="0"/>
              </a:rPr>
              <a:t> </a:t>
            </a:r>
            <a:r>
              <a:rPr kumimoji="0" lang="en-US" sz="1000" b="0" i="0" u="none" strike="noStrike" kern="0" cap="none" spc="0" normalizeH="0" baseline="0" noProof="0" dirty="0">
                <a:ln>
                  <a:noFill/>
                </a:ln>
                <a:solidFill>
                  <a:srgbClr val="000000"/>
                </a:solidFill>
                <a:effectLst/>
                <a:uLnTx/>
                <a:uFillTx/>
              </a:rPr>
              <a:t>– Power Apps and Power Automate capacity add-on can be purchased to increase daily service limits</a:t>
            </a:r>
          </a:p>
        </p:txBody>
      </p:sp>
    </p:spTree>
    <p:custDataLst>
      <p:tags r:id="rId1"/>
    </p:custDataLst>
    <p:extLst>
      <p:ext uri="{BB962C8B-B14F-4D97-AF65-F5344CB8AC3E}">
        <p14:creationId xmlns:p14="http://schemas.microsoft.com/office/powerpoint/2010/main" val="156306146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Power Automate (Flow) </a:t>
            </a:r>
            <a:r>
              <a:rPr lang="en-US" u="sng" noProof="1"/>
              <a:t>within app context</a:t>
            </a:r>
          </a:p>
        </p:txBody>
      </p:sp>
      <p:grpSp>
        <p:nvGrpSpPr>
          <p:cNvPr id="4" name="Group 3">
            <a:extLst>
              <a:ext uri="{FF2B5EF4-FFF2-40B4-BE49-F238E27FC236}">
                <a16:creationId xmlns:a16="http://schemas.microsoft.com/office/drawing/2014/main" id="{C120D19B-9088-4747-88EC-66B4C4981545}"/>
              </a:ext>
            </a:extLst>
          </p:cNvPr>
          <p:cNvGrpSpPr/>
          <p:nvPr/>
        </p:nvGrpSpPr>
        <p:grpSpPr>
          <a:xfrm>
            <a:off x="465953" y="3372223"/>
            <a:ext cx="11216799" cy="3224007"/>
            <a:chOff x="455995" y="3027115"/>
            <a:chExt cx="10587721" cy="3161078"/>
          </a:xfrm>
        </p:grpSpPr>
        <p:sp>
          <p:nvSpPr>
            <p:cNvPr id="5" name="Rectangle 4">
              <a:extLst>
                <a:ext uri="{FF2B5EF4-FFF2-40B4-BE49-F238E27FC236}">
                  <a16:creationId xmlns:a16="http://schemas.microsoft.com/office/drawing/2014/main" id="{7C608058-2128-41D7-AA0D-44BE982C8319}"/>
                </a:ext>
              </a:extLst>
            </p:cNvPr>
            <p:cNvSpPr/>
            <p:nvPr/>
          </p:nvSpPr>
          <p:spPr bwMode="auto">
            <a:xfrm>
              <a:off x="5829735" y="3027115"/>
              <a:ext cx="5213981" cy="3161078"/>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500DBBE8-BF51-4503-BAA2-4673C2D23B89}"/>
                </a:ext>
              </a:extLst>
            </p:cNvPr>
            <p:cNvSpPr/>
            <p:nvPr/>
          </p:nvSpPr>
          <p:spPr bwMode="auto">
            <a:xfrm>
              <a:off x="455995" y="3027115"/>
              <a:ext cx="5213981" cy="3161078"/>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137BEF76-8299-4154-9F4B-034699A33174}"/>
                </a:ext>
              </a:extLst>
            </p:cNvPr>
            <p:cNvSpPr/>
            <p:nvPr/>
          </p:nvSpPr>
          <p:spPr>
            <a:xfrm>
              <a:off x="535874" y="3838706"/>
              <a:ext cx="5134102" cy="1991393"/>
            </a:xfrm>
            <a:prstGeom prst="rect">
              <a:avLst/>
            </a:prstGeom>
          </p:spPr>
          <p:txBody>
            <a:bodyPr wrap="square">
              <a:noAutofit/>
            </a:bodyPr>
            <a:lstStyle/>
            <a:p>
              <a:pPr defTabSz="932563">
                <a:spcBef>
                  <a:spcPts val="300"/>
                </a:spcBef>
                <a:defRPr/>
              </a:pPr>
              <a:r>
                <a:rPr lang="en-US" dirty="0">
                  <a:solidFill>
                    <a:prstClr val="black"/>
                  </a:solidFill>
                  <a:latin typeface="Segoe UI"/>
                  <a:ea typeface="Times New Roman" panose="02020603050405020304" pitchFamily="18" charset="0"/>
                  <a:cs typeface="Segoe UI Semibold" panose="020B0702040204020203" pitchFamily="34" charset="0"/>
                </a:rPr>
                <a:t>User with a standalone Power Apps license runs an app that uses SQL DB as the data source and includes Flows that:</a:t>
              </a:r>
            </a:p>
            <a:p>
              <a:pPr marL="171417" indent="-171417" defTabSz="932563">
                <a:spcBef>
                  <a:spcPts val="300"/>
                </a:spcBef>
                <a:buFont typeface="Arial" panose="020B0604020202020204" pitchFamily="34" charset="0"/>
                <a:buChar char="•"/>
                <a:defRPr/>
              </a:pPr>
              <a:r>
                <a:rPr lang="en-US" dirty="0">
                  <a:solidFill>
                    <a:prstClr val="black"/>
                  </a:solidFill>
                  <a:latin typeface="Segoe UI"/>
                  <a:ea typeface="Times New Roman" panose="02020603050405020304" pitchFamily="18" charset="0"/>
                  <a:cs typeface="Segoe UI Semibold" panose="020B0702040204020203" pitchFamily="34" charset="0"/>
                </a:rPr>
                <a:t>Read from OR write to SQL DB.</a:t>
              </a:r>
            </a:p>
            <a:p>
              <a:pPr marL="171417" indent="-171417" defTabSz="932563">
                <a:spcBef>
                  <a:spcPts val="300"/>
                </a:spcBef>
                <a:buFont typeface="Arial" panose="020B0604020202020204" pitchFamily="34" charset="0"/>
                <a:buChar char="•"/>
                <a:defRPr/>
              </a:pPr>
              <a:r>
                <a:rPr lang="en-US" dirty="0">
                  <a:solidFill>
                    <a:prstClr val="black"/>
                  </a:solidFill>
                  <a:latin typeface="Segoe UI"/>
                  <a:ea typeface="Times New Roman" panose="02020603050405020304" pitchFamily="18" charset="0"/>
                  <a:cs typeface="Segoe UI Semibold" panose="020B0702040204020203" pitchFamily="34" charset="0"/>
                </a:rPr>
                <a:t>Use a built-in Power Apps trigger and/or action. For example: Send a push notification to the app.</a:t>
              </a:r>
              <a:endParaRPr lang="en-US" sz="4399" dirty="0">
                <a:solidFill>
                  <a:srgbClr val="3C3C41"/>
                </a:solidFill>
                <a:latin typeface="Segoe UI"/>
                <a:cs typeface="Segoe UI Semibold" panose="020B0702040204020203" pitchFamily="34" charset="0"/>
              </a:endParaRPr>
            </a:p>
          </p:txBody>
        </p:sp>
        <p:sp>
          <p:nvSpPr>
            <p:cNvPr id="8" name="Rectangle 7">
              <a:extLst>
                <a:ext uri="{FF2B5EF4-FFF2-40B4-BE49-F238E27FC236}">
                  <a16:creationId xmlns:a16="http://schemas.microsoft.com/office/drawing/2014/main" id="{26C350A7-5868-4EED-B892-4557E080D9EA}"/>
                </a:ext>
              </a:extLst>
            </p:cNvPr>
            <p:cNvSpPr>
              <a:spLocks noChangeArrowheads="1"/>
            </p:cNvSpPr>
            <p:nvPr/>
          </p:nvSpPr>
          <p:spPr bwMode="auto">
            <a:xfrm>
              <a:off x="535874" y="3293778"/>
              <a:ext cx="501997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912992" eaLnBrk="1" fontAlgn="base" hangingPunct="1">
                <a:spcBef>
                  <a:spcPct val="0"/>
                </a:spcBef>
                <a:spcAft>
                  <a:spcPct val="0"/>
                </a:spcAft>
                <a:defRPr/>
              </a:pPr>
              <a:r>
                <a:rPr lang="en-US" altLang="ko-KR" sz="2000" dirty="0">
                  <a:solidFill>
                    <a:srgbClr val="000000"/>
                  </a:solidFill>
                  <a:latin typeface="Segoe UI Semibold"/>
                  <a:ea typeface="Gulim" charset="-127"/>
                  <a:cs typeface="Segoe UI Semibold" panose="020B0702040204020203" pitchFamily="34" charset="0"/>
                </a:rPr>
                <a:t>Example: Flow </a:t>
              </a:r>
              <a:r>
                <a:rPr lang="en-US" altLang="ko-KR" sz="2000" dirty="0">
                  <a:solidFill>
                    <a:srgbClr val="7030A0"/>
                  </a:solidFill>
                  <a:latin typeface="Segoe UI Semibold"/>
                  <a:ea typeface="Gulim" charset="-127"/>
                  <a:cs typeface="Segoe UI Semibold" panose="020B0702040204020203" pitchFamily="34" charset="0"/>
                </a:rPr>
                <a:t>within</a:t>
              </a:r>
              <a:r>
                <a:rPr lang="en-US" altLang="ko-KR" sz="2000" dirty="0">
                  <a:solidFill>
                    <a:srgbClr val="000000"/>
                  </a:solidFill>
                  <a:latin typeface="Segoe UI Semibold"/>
                  <a:ea typeface="Gulim" charset="-127"/>
                  <a:cs typeface="Segoe UI Semibold" panose="020B0702040204020203" pitchFamily="34" charset="0"/>
                </a:rPr>
                <a:t> app context. </a:t>
              </a:r>
            </a:p>
          </p:txBody>
        </p:sp>
        <p:sp>
          <p:nvSpPr>
            <p:cNvPr id="9" name="Rectangle 8">
              <a:extLst>
                <a:ext uri="{FF2B5EF4-FFF2-40B4-BE49-F238E27FC236}">
                  <a16:creationId xmlns:a16="http://schemas.microsoft.com/office/drawing/2014/main" id="{1CF55B3C-E708-4F7E-BA01-3707EC07ABE7}"/>
                </a:ext>
              </a:extLst>
            </p:cNvPr>
            <p:cNvSpPr>
              <a:spLocks noChangeArrowheads="1"/>
            </p:cNvSpPr>
            <p:nvPr/>
          </p:nvSpPr>
          <p:spPr bwMode="auto">
            <a:xfrm>
              <a:off x="5922776" y="3257291"/>
              <a:ext cx="501997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912992" eaLnBrk="1" fontAlgn="base" hangingPunct="1">
                <a:spcBef>
                  <a:spcPct val="0"/>
                </a:spcBef>
                <a:spcAft>
                  <a:spcPct val="0"/>
                </a:spcAft>
                <a:defRPr/>
              </a:pPr>
              <a:r>
                <a:rPr lang="en-US" altLang="ko-KR" sz="2000" dirty="0">
                  <a:solidFill>
                    <a:srgbClr val="000000"/>
                  </a:solidFill>
                  <a:latin typeface="Segoe UI Semibold"/>
                  <a:ea typeface="Gulim" charset="-127"/>
                  <a:cs typeface="Segoe UI Semibold" panose="020B0702040204020203" pitchFamily="34" charset="0"/>
                </a:rPr>
                <a:t>Example: Flow </a:t>
              </a:r>
              <a:r>
                <a:rPr lang="en-US" altLang="ko-KR" sz="2000" dirty="0">
                  <a:solidFill>
                    <a:srgbClr val="7030A0"/>
                  </a:solidFill>
                  <a:latin typeface="Segoe UI Semibold"/>
                  <a:ea typeface="Gulim" charset="-127"/>
                  <a:cs typeface="Segoe UI Semibold" panose="020B0702040204020203" pitchFamily="34" charset="0"/>
                </a:rPr>
                <a:t>NOT</a:t>
              </a:r>
              <a:r>
                <a:rPr lang="en-US" altLang="ko-KR" sz="2000" dirty="0">
                  <a:solidFill>
                    <a:srgbClr val="000000"/>
                  </a:solidFill>
                  <a:latin typeface="Segoe UI Semibold"/>
                  <a:ea typeface="Gulim" charset="-127"/>
                  <a:cs typeface="Segoe UI Semibold" panose="020B0702040204020203" pitchFamily="34" charset="0"/>
                </a:rPr>
                <a:t> within app context.</a:t>
              </a:r>
            </a:p>
          </p:txBody>
        </p:sp>
        <p:sp>
          <p:nvSpPr>
            <p:cNvPr id="10" name="Rectangle 9">
              <a:extLst>
                <a:ext uri="{FF2B5EF4-FFF2-40B4-BE49-F238E27FC236}">
                  <a16:creationId xmlns:a16="http://schemas.microsoft.com/office/drawing/2014/main" id="{EBD86E20-C29C-416A-9CA6-18E3D3AF5EDD}"/>
                </a:ext>
              </a:extLst>
            </p:cNvPr>
            <p:cNvSpPr/>
            <p:nvPr/>
          </p:nvSpPr>
          <p:spPr>
            <a:xfrm>
              <a:off x="5922777" y="3838705"/>
              <a:ext cx="5120939" cy="1719840"/>
            </a:xfrm>
            <a:prstGeom prst="rect">
              <a:avLst/>
            </a:prstGeom>
          </p:spPr>
          <p:txBody>
            <a:bodyPr wrap="square">
              <a:noAutofit/>
            </a:bodyPr>
            <a:lstStyle/>
            <a:p>
              <a:pPr defTabSz="932563">
                <a:spcBef>
                  <a:spcPts val="300"/>
                </a:spcBef>
                <a:defRPr/>
              </a:pPr>
              <a:r>
                <a:rPr lang="en-US" dirty="0">
                  <a:solidFill>
                    <a:prstClr val="black"/>
                  </a:solidFill>
                  <a:latin typeface="Segoe UI"/>
                  <a:ea typeface="Times New Roman" panose="02020603050405020304" pitchFamily="18" charset="0"/>
                  <a:cs typeface="Segoe UI Semibold" panose="020B0702040204020203" pitchFamily="34" charset="0"/>
                </a:rPr>
                <a:t>The same user now also wants to use a Flow that updates an Oracle database and,</a:t>
              </a:r>
            </a:p>
            <a:p>
              <a:pPr marL="171417" indent="-171417" defTabSz="932563">
                <a:spcBef>
                  <a:spcPts val="300"/>
                </a:spcBef>
                <a:buFont typeface="Arial" panose="020B0604020202020204" pitchFamily="34" charset="0"/>
                <a:buChar char="•"/>
                <a:defRPr/>
              </a:pPr>
              <a:r>
                <a:rPr lang="en-US" dirty="0">
                  <a:solidFill>
                    <a:prstClr val="black"/>
                  </a:solidFill>
                  <a:latin typeface="Segoe UI"/>
                  <a:ea typeface="Times New Roman" panose="02020603050405020304" pitchFamily="18" charset="0"/>
                  <a:cs typeface="Segoe UI Semibold" panose="020B0702040204020203" pitchFamily="34" charset="0"/>
                </a:rPr>
                <a:t>is completely unrelated to the Power Apps app.</a:t>
              </a:r>
            </a:p>
            <a:p>
              <a:pPr marL="171417" indent="-171417" defTabSz="932563">
                <a:spcBef>
                  <a:spcPts val="300"/>
                </a:spcBef>
                <a:buFont typeface="Arial" panose="020B0604020202020204" pitchFamily="34" charset="0"/>
                <a:buChar char="•"/>
                <a:defRPr/>
              </a:pPr>
              <a:r>
                <a:rPr lang="en-US" dirty="0">
                  <a:solidFill>
                    <a:prstClr val="black"/>
                  </a:solidFill>
                  <a:latin typeface="Segoe UI"/>
                  <a:ea typeface="Times New Roman" panose="02020603050405020304" pitchFamily="18" charset="0"/>
                  <a:cs typeface="Segoe UI Semibold" panose="020B0702040204020203" pitchFamily="34" charset="0"/>
                </a:rPr>
                <a:t>does not interact in any way with the Power Apps app (or its data sources).</a:t>
              </a:r>
            </a:p>
            <a:p>
              <a:pPr defTabSz="932563">
                <a:spcBef>
                  <a:spcPts val="300"/>
                </a:spcBef>
                <a:defRPr/>
              </a:pPr>
              <a:r>
                <a:rPr lang="en-US" dirty="0">
                  <a:solidFill>
                    <a:prstClr val="black"/>
                  </a:solidFill>
                  <a:latin typeface="Segoe UI"/>
                  <a:ea typeface="Times New Roman" panose="02020603050405020304" pitchFamily="18" charset="0"/>
                  <a:cs typeface="Segoe UI Semibold" panose="020B0702040204020203" pitchFamily="34" charset="0"/>
                </a:rPr>
                <a:t>This user will then require a standalone flow.</a:t>
              </a:r>
              <a:endParaRPr lang="en-US" sz="4399" dirty="0">
                <a:solidFill>
                  <a:srgbClr val="3C3C41"/>
                </a:solidFill>
                <a:latin typeface="Segoe UI"/>
                <a:cs typeface="Segoe UI Semibold" panose="020B0702040204020203" pitchFamily="34" charset="0"/>
              </a:endParaRPr>
            </a:p>
          </p:txBody>
        </p:sp>
      </p:grpSp>
      <p:sp>
        <p:nvSpPr>
          <p:cNvPr id="11" name="Rectangle 10">
            <a:extLst>
              <a:ext uri="{FF2B5EF4-FFF2-40B4-BE49-F238E27FC236}">
                <a16:creationId xmlns:a16="http://schemas.microsoft.com/office/drawing/2014/main" id="{E56E1C57-D7C1-40A7-A0C8-3121BEC438E2}"/>
              </a:ext>
            </a:extLst>
          </p:cNvPr>
          <p:cNvSpPr/>
          <p:nvPr/>
        </p:nvSpPr>
        <p:spPr>
          <a:xfrm>
            <a:off x="465954" y="1365837"/>
            <a:ext cx="10798495" cy="1569660"/>
          </a:xfrm>
          <a:prstGeom prst="rect">
            <a:avLst/>
          </a:prstGeom>
        </p:spPr>
        <p:txBody>
          <a:bodyPr wrap="square">
            <a:spAutoFit/>
          </a:bodyPr>
          <a:lstStyle/>
          <a:p>
            <a:pPr defTabSz="932563">
              <a:defRPr/>
            </a:pPr>
            <a:r>
              <a:rPr lang="en-US" sz="2200" dirty="0">
                <a:solidFill>
                  <a:srgbClr val="3C3C41"/>
                </a:solidFill>
                <a:latin typeface="Segoe UI"/>
                <a:cs typeface="Segoe UI Semibold"/>
              </a:rPr>
              <a:t>For both triggers and actions, Flows included within an embedding application can connect:</a:t>
            </a:r>
          </a:p>
          <a:p>
            <a:pPr marL="285695" indent="-285695" defTabSz="932563">
              <a:buFont typeface="Arial" panose="020B0604020202020204" pitchFamily="34" charset="0"/>
              <a:buChar char="•"/>
              <a:defRPr/>
            </a:pPr>
            <a:r>
              <a:rPr lang="en-US" sz="2200" dirty="0">
                <a:solidFill>
                  <a:srgbClr val="3C3C41"/>
                </a:solidFill>
                <a:latin typeface="Segoe UI"/>
                <a:cs typeface="Segoe UI Semibold"/>
              </a:rPr>
              <a:t>To </a:t>
            </a:r>
            <a:r>
              <a:rPr lang="en-US" sz="2200" b="1" dirty="0">
                <a:solidFill>
                  <a:srgbClr val="3C3C41"/>
                </a:solidFill>
                <a:latin typeface="Segoe UI"/>
                <a:cs typeface="Segoe UI Semibold"/>
              </a:rPr>
              <a:t>any</a:t>
            </a:r>
            <a:r>
              <a:rPr lang="en-US" sz="2200" dirty="0">
                <a:solidFill>
                  <a:srgbClr val="3C3C41"/>
                </a:solidFill>
                <a:latin typeface="Segoe UI"/>
                <a:cs typeface="Segoe UI Semibold"/>
              </a:rPr>
              <a:t> data source within the use rights of the embedding application.</a:t>
            </a:r>
          </a:p>
          <a:p>
            <a:pPr marL="285695" indent="-285695" defTabSz="932563">
              <a:buFont typeface="Arial" panose="020B0604020202020204" pitchFamily="34" charset="0"/>
              <a:buChar char="•"/>
              <a:defRPr/>
            </a:pPr>
            <a:r>
              <a:rPr lang="en-US" sz="2200" dirty="0">
                <a:solidFill>
                  <a:srgbClr val="3C3C41"/>
                </a:solidFill>
                <a:latin typeface="Segoe UI"/>
                <a:cs typeface="Segoe UI Semibold"/>
              </a:rPr>
              <a:t>Directly with the embedding application (via built in trigger/action).</a:t>
            </a:r>
          </a:p>
        </p:txBody>
      </p:sp>
      <p:sp>
        <p:nvSpPr>
          <p:cNvPr id="12" name="Rectangle 11">
            <a:extLst>
              <a:ext uri="{FF2B5EF4-FFF2-40B4-BE49-F238E27FC236}">
                <a16:creationId xmlns:a16="http://schemas.microsoft.com/office/drawing/2014/main" id="{D420FEB2-50D7-48F6-92CE-D24EB5B2A670}"/>
              </a:ext>
            </a:extLst>
          </p:cNvPr>
          <p:cNvSpPr>
            <a:spLocks noChangeArrowheads="1"/>
          </p:cNvSpPr>
          <p:nvPr/>
        </p:nvSpPr>
        <p:spPr bwMode="auto">
          <a:xfrm>
            <a:off x="465955" y="986160"/>
            <a:ext cx="6206385" cy="376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912992" eaLnBrk="1" fontAlgn="base" hangingPunct="1">
              <a:spcBef>
                <a:spcPct val="0"/>
              </a:spcBef>
              <a:spcAft>
                <a:spcPct val="0"/>
              </a:spcAft>
              <a:defRPr/>
            </a:pPr>
            <a:r>
              <a:rPr lang="en-US" altLang="ko-KR" sz="2400" dirty="0">
                <a:solidFill>
                  <a:srgbClr val="000000"/>
                </a:solidFill>
                <a:latin typeface="Segoe UI Semibold"/>
                <a:ea typeface="Gulim" charset="-127"/>
                <a:cs typeface="Segoe UI Semibold" panose="020B0702040204020203" pitchFamily="34" charset="0"/>
              </a:rPr>
              <a:t>Definition of Flow </a:t>
            </a:r>
            <a:r>
              <a:rPr lang="en-US" altLang="ko-KR" sz="2400" dirty="0">
                <a:solidFill>
                  <a:srgbClr val="7030A0"/>
                </a:solidFill>
                <a:latin typeface="Segoe UI Semibold"/>
                <a:ea typeface="Gulim" charset="-127"/>
                <a:cs typeface="Segoe UI Semibold" panose="020B0702040204020203" pitchFamily="34" charset="0"/>
              </a:rPr>
              <a:t>within</a:t>
            </a:r>
            <a:r>
              <a:rPr lang="en-US" altLang="ko-KR" sz="2400" dirty="0">
                <a:solidFill>
                  <a:srgbClr val="000000"/>
                </a:solidFill>
                <a:latin typeface="Segoe UI Semibold"/>
                <a:ea typeface="Gulim" charset="-127"/>
                <a:cs typeface="Segoe UI Semibold" panose="020B0702040204020203" pitchFamily="34" charset="0"/>
              </a:rPr>
              <a:t> app context</a:t>
            </a:r>
          </a:p>
        </p:txBody>
      </p:sp>
      <p:sp>
        <p:nvSpPr>
          <p:cNvPr id="13" name="Rectangle 12">
            <a:extLst>
              <a:ext uri="{FF2B5EF4-FFF2-40B4-BE49-F238E27FC236}">
                <a16:creationId xmlns:a16="http://schemas.microsoft.com/office/drawing/2014/main" id="{27DD65BC-68D9-4BF4-8A8E-5336DD4F5C5F}"/>
              </a:ext>
            </a:extLst>
          </p:cNvPr>
          <p:cNvSpPr>
            <a:spLocks noChangeArrowheads="1"/>
          </p:cNvSpPr>
          <p:nvPr/>
        </p:nvSpPr>
        <p:spPr bwMode="auto">
          <a:xfrm>
            <a:off x="465953" y="2897862"/>
            <a:ext cx="6734626" cy="376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912992" eaLnBrk="1" fontAlgn="base" hangingPunct="1">
              <a:spcBef>
                <a:spcPct val="0"/>
              </a:spcBef>
              <a:spcAft>
                <a:spcPct val="0"/>
              </a:spcAft>
              <a:defRPr/>
            </a:pPr>
            <a:r>
              <a:rPr lang="en-US" altLang="ko-KR" sz="2400" dirty="0">
                <a:solidFill>
                  <a:srgbClr val="000000"/>
                </a:solidFill>
                <a:latin typeface="Segoe UI Semibold"/>
                <a:ea typeface="Gulim" charset="-127"/>
                <a:cs typeface="Segoe UI Semibold" panose="020B0702040204020203" pitchFamily="34" charset="0"/>
              </a:rPr>
              <a:t>Example: Flow embedded within Power Apps</a:t>
            </a:r>
          </a:p>
        </p:txBody>
      </p:sp>
    </p:spTree>
    <p:custDataLst>
      <p:tags r:id="rId1"/>
    </p:custDataLst>
    <p:extLst>
      <p:ext uri="{BB962C8B-B14F-4D97-AF65-F5344CB8AC3E}">
        <p14:creationId xmlns:p14="http://schemas.microsoft.com/office/powerpoint/2010/main" val="2796827562"/>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Power Apps per app pay-as-you-go (PAYG)</a:t>
            </a:r>
          </a:p>
        </p:txBody>
      </p:sp>
      <p:sp>
        <p:nvSpPr>
          <p:cNvPr id="10" name="Rectangle 9">
            <a:extLst>
              <a:ext uri="{FF2B5EF4-FFF2-40B4-BE49-F238E27FC236}">
                <a16:creationId xmlns:a16="http://schemas.microsoft.com/office/drawing/2014/main" id="{A167763D-339D-45CF-B122-94C7D3597757}"/>
              </a:ext>
            </a:extLst>
          </p:cNvPr>
          <p:cNvSpPr/>
          <p:nvPr/>
        </p:nvSpPr>
        <p:spPr>
          <a:xfrm>
            <a:off x="616722" y="5521657"/>
            <a:ext cx="11211911" cy="615553"/>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192"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30000" noProof="0" dirty="0">
                <a:ln>
                  <a:noFill/>
                </a:ln>
                <a:solidFill>
                  <a:srgbClr val="000000"/>
                </a:solidFill>
                <a:effectLst/>
                <a:uLnTx/>
                <a:uFillTx/>
              </a:rPr>
              <a:t>1</a:t>
            </a:r>
            <a:r>
              <a:rPr kumimoji="0" lang="en-US" sz="1000" b="0" u="none" strike="noStrike" kern="0" cap="none" spc="0" normalizeH="0" baseline="0" noProof="0" dirty="0">
                <a:ln>
                  <a:noFill/>
                </a:ln>
                <a:solidFill>
                  <a:srgbClr val="0070C0"/>
                </a:solidFill>
                <a:effectLst/>
                <a:uLnTx/>
                <a:uFillTx/>
              </a:rPr>
              <a:t>Power Apps per app pay-as-you-go meter </a:t>
            </a:r>
            <a:r>
              <a:rPr lang="en-US" sz="1000" kern="0" dirty="0">
                <a:solidFill>
                  <a:srgbClr val="0070C0"/>
                </a:solidFill>
              </a:rPr>
              <a:t>entitles</a:t>
            </a:r>
            <a:r>
              <a:rPr kumimoji="0" lang="en-US" sz="1000" b="0" u="none" strike="noStrike" kern="0" cap="none" spc="0" normalizeH="0" baseline="0" noProof="0" dirty="0">
                <a:ln>
                  <a:noFill/>
                </a:ln>
                <a:solidFill>
                  <a:srgbClr val="0070C0"/>
                </a:solidFill>
                <a:effectLst/>
                <a:uLnTx/>
                <a:uFillTx/>
              </a:rPr>
              <a:t> licensed user to run 1 app or 1 portal</a:t>
            </a:r>
          </a:p>
          <a:p>
            <a:pPr defTabSz="914192">
              <a:defRPr/>
            </a:pPr>
            <a:r>
              <a:rPr lang="en-US" sz="1000" kern="0" dirty="0">
                <a:solidFill>
                  <a:srgbClr val="000000"/>
                </a:solidFill>
              </a:rPr>
              <a:t>Power</a:t>
            </a:r>
            <a:r>
              <a:rPr lang="en-US" sz="1000" kern="0" dirty="0">
                <a:gradFill>
                  <a:gsLst>
                    <a:gs pos="1250">
                      <a:srgbClr val="353535"/>
                    </a:gs>
                    <a:gs pos="100000">
                      <a:srgbClr val="353535"/>
                    </a:gs>
                  </a:gsLst>
                  <a:lin ang="5400000" scaled="0"/>
                </a:gradFill>
                <a:cs typeface="Segoe UI"/>
              </a:rPr>
              <a:t> </a:t>
            </a:r>
            <a:r>
              <a:rPr lang="en-US" sz="1000" kern="0" dirty="0">
                <a:solidFill>
                  <a:srgbClr val="000000"/>
                </a:solidFill>
              </a:rPr>
              <a:t>Apps &amp; Power Automate for Office 365 and Dynamics 365 allow users to customize &amp; extend Office 365 and Dynamics 365 applications. For more information, please see </a:t>
            </a:r>
            <a:r>
              <a:rPr lang="en-US" sz="1000" kern="0" dirty="0">
                <a:gradFill>
                  <a:gsLst>
                    <a:gs pos="1250">
                      <a:srgbClr val="353535"/>
                    </a:gs>
                    <a:gs pos="100000">
                      <a:srgbClr val="353535"/>
                    </a:gs>
                  </a:gsLst>
                  <a:lin ang="5400000" scaled="0"/>
                </a:gradFill>
                <a:cs typeface="Segoe UI"/>
                <a:hlinkClick r:id="" action="ppaction://noaction"/>
              </a:rPr>
              <a:t>Office 365 </a:t>
            </a:r>
            <a:r>
              <a:rPr lang="en-US" sz="1000" kern="0" dirty="0">
                <a:gradFill>
                  <a:gsLst>
                    <a:gs pos="1250">
                      <a:srgbClr val="353535"/>
                    </a:gs>
                    <a:gs pos="100000">
                      <a:srgbClr val="353535"/>
                    </a:gs>
                  </a:gsLst>
                  <a:lin ang="5400000" scaled="0"/>
                </a:gradFill>
                <a:cs typeface="Segoe UI"/>
              </a:rPr>
              <a:t>/ </a:t>
            </a:r>
            <a:r>
              <a:rPr lang="en-US" sz="1000" kern="0" dirty="0">
                <a:gradFill>
                  <a:gsLst>
                    <a:gs pos="1250">
                      <a:srgbClr val="353535"/>
                    </a:gs>
                    <a:gs pos="100000">
                      <a:srgbClr val="353535"/>
                    </a:gs>
                  </a:gsLst>
                  <a:lin ang="5400000" scaled="0"/>
                </a:gradFill>
                <a:cs typeface="Segoe UI"/>
                <a:hlinkClick r:id="" action="ppaction://noaction"/>
              </a:rPr>
              <a:t>Dynamics 365 </a:t>
            </a:r>
            <a:r>
              <a:rPr lang="en-US" sz="1000" kern="0" dirty="0">
                <a:solidFill>
                  <a:srgbClr val="000000"/>
                </a:solidFill>
              </a:rPr>
              <a:t>sections in this deck.</a:t>
            </a:r>
          </a:p>
          <a:p>
            <a:pPr marL="0" marR="0" lvl="0" indent="0" defTabSz="914192" eaLnBrk="1" fontAlgn="auto" latinLnBrk="0" hangingPunct="1">
              <a:lnSpc>
                <a:spcPct val="100000"/>
              </a:lnSpc>
              <a:spcBef>
                <a:spcPts val="0"/>
              </a:spcBef>
              <a:spcAft>
                <a:spcPts val="0"/>
              </a:spcAft>
              <a:buClrTx/>
              <a:buSzTx/>
              <a:buFontTx/>
              <a:buNone/>
              <a:tabLst/>
              <a:defRPr/>
            </a:pPr>
            <a:endParaRPr kumimoji="0" lang="en-US" sz="1000" b="0" u="none" strike="noStrike" kern="0" cap="none" spc="0" normalizeH="0" baseline="0" noProof="0" dirty="0">
              <a:ln>
                <a:noFill/>
              </a:ln>
              <a:solidFill>
                <a:srgbClr val="000000"/>
              </a:solidFill>
              <a:effectLst/>
              <a:uLnTx/>
              <a:uFillTx/>
            </a:endParaRPr>
          </a:p>
        </p:txBody>
      </p:sp>
      <p:grpSp>
        <p:nvGrpSpPr>
          <p:cNvPr id="12" name="Group 11">
            <a:extLst>
              <a:ext uri="{FF2B5EF4-FFF2-40B4-BE49-F238E27FC236}">
                <a16:creationId xmlns:a16="http://schemas.microsoft.com/office/drawing/2014/main" id="{AF3C16F2-CCF4-4C5F-9B9B-BF30D77B7B37}"/>
              </a:ext>
            </a:extLst>
          </p:cNvPr>
          <p:cNvGrpSpPr/>
          <p:nvPr/>
        </p:nvGrpSpPr>
        <p:grpSpPr>
          <a:xfrm>
            <a:off x="726335" y="1193770"/>
            <a:ext cx="10655926" cy="3876457"/>
            <a:chOff x="214489" y="1463575"/>
            <a:chExt cx="11126796" cy="3876457"/>
          </a:xfrm>
        </p:grpSpPr>
        <p:sp>
          <p:nvSpPr>
            <p:cNvPr id="16" name="people_12" title="Icon of three people">
              <a:extLst>
                <a:ext uri="{FF2B5EF4-FFF2-40B4-BE49-F238E27FC236}">
                  <a16:creationId xmlns:a16="http://schemas.microsoft.com/office/drawing/2014/main" id="{9274207A-BE01-4B3B-B464-3E60153E3A2C}"/>
                </a:ext>
              </a:extLst>
            </p:cNvPr>
            <p:cNvSpPr>
              <a:spLocks noChangeAspect="1" noEditPoints="1"/>
            </p:cNvSpPr>
            <p:nvPr/>
          </p:nvSpPr>
          <p:spPr bwMode="auto">
            <a:xfrm>
              <a:off x="7138633" y="1626596"/>
              <a:ext cx="381724" cy="32567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 name="Group 17">
              <a:extLst>
                <a:ext uri="{FF2B5EF4-FFF2-40B4-BE49-F238E27FC236}">
                  <a16:creationId xmlns:a16="http://schemas.microsoft.com/office/drawing/2014/main" id="{6D84534F-72B5-4757-AF64-3BC832EDF342}"/>
                </a:ext>
              </a:extLst>
            </p:cNvPr>
            <p:cNvGrpSpPr/>
            <p:nvPr/>
          </p:nvGrpSpPr>
          <p:grpSpPr>
            <a:xfrm>
              <a:off x="214489" y="1463575"/>
              <a:ext cx="3541330" cy="3876457"/>
              <a:chOff x="1774719" y="1600317"/>
              <a:chExt cx="3541330" cy="3876457"/>
            </a:xfrm>
          </p:grpSpPr>
          <p:sp>
            <p:nvSpPr>
              <p:cNvPr id="34" name="Rectangle 33">
                <a:extLst>
                  <a:ext uri="{FF2B5EF4-FFF2-40B4-BE49-F238E27FC236}">
                    <a16:creationId xmlns:a16="http://schemas.microsoft.com/office/drawing/2014/main" id="{79F58BCD-3027-4D4C-AC57-96AAA7073688}"/>
                  </a:ext>
                </a:extLst>
              </p:cNvPr>
              <p:cNvSpPr/>
              <p:nvPr/>
            </p:nvSpPr>
            <p:spPr bwMode="auto">
              <a:xfrm>
                <a:off x="1774719" y="1600318"/>
                <a:ext cx="3530807" cy="3876456"/>
              </a:xfrm>
              <a:prstGeom prst="rect">
                <a:avLst/>
              </a:prstGeom>
              <a:noFill/>
              <a:ln w="6350" cap="flat" cmpd="sng" algn="ctr">
                <a:solidFill>
                  <a:srgbClr val="FFFFFF">
                    <a:lumMod val="85000"/>
                  </a:srgb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EB7A30E2-D588-4775-BF60-1CEF4F558854}"/>
                  </a:ext>
                </a:extLst>
              </p:cNvPr>
              <p:cNvSpPr/>
              <p:nvPr/>
            </p:nvSpPr>
            <p:spPr>
              <a:xfrm>
                <a:off x="1785242" y="2507703"/>
                <a:ext cx="3530807" cy="667875"/>
              </a:xfrm>
              <a:prstGeom prst="rect">
                <a:avLst/>
              </a:prstGeom>
            </p:spPr>
            <p:txBody>
              <a:bodyPr wrap="square" lIns="9144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spcAft>
                    <a:spcPts val="400"/>
                  </a:spcAft>
                  <a:defRPr/>
                </a:pPr>
                <a:r>
                  <a:rPr lang="en-US" sz="1600">
                    <a:solidFill>
                      <a:srgbClr val="000000"/>
                    </a:solidFill>
                    <a:cs typeface="Segoe UI" panose="020B0502040204020203" pitchFamily="34" charset="0"/>
                  </a:rPr>
                  <a:t>$10 per active user per app/month</a:t>
                </a:r>
              </a:p>
            </p:txBody>
          </p:sp>
          <p:cxnSp>
            <p:nvCxnSpPr>
              <p:cNvPr id="36" name="Straight Connector 35">
                <a:extLst>
                  <a:ext uri="{FF2B5EF4-FFF2-40B4-BE49-F238E27FC236}">
                    <a16:creationId xmlns:a16="http://schemas.microsoft.com/office/drawing/2014/main" id="{FC687D16-5755-4202-9728-312F1C736FFC}"/>
                  </a:ext>
                </a:extLst>
              </p:cNvPr>
              <p:cNvCxnSpPr>
                <a:cxnSpLocks/>
              </p:cNvCxnSpPr>
              <p:nvPr/>
            </p:nvCxnSpPr>
            <p:spPr>
              <a:xfrm>
                <a:off x="1774719" y="3382844"/>
                <a:ext cx="3530807" cy="0"/>
              </a:xfrm>
              <a:prstGeom prst="line">
                <a:avLst/>
              </a:prstGeom>
              <a:noFill/>
              <a:ln w="6350" cap="flat" cmpd="sng" algn="ctr">
                <a:solidFill>
                  <a:srgbClr val="FFFFFF">
                    <a:lumMod val="75000"/>
                  </a:srgbClr>
                </a:solidFill>
                <a:prstDash val="dash"/>
                <a:headEnd type="none" w="lg" len="med"/>
                <a:tailEnd type="none" w="lg" len="med"/>
              </a:ln>
              <a:effectLst/>
            </p:spPr>
          </p:cxnSp>
          <p:sp>
            <p:nvSpPr>
              <p:cNvPr id="37" name="Rectangle 36">
                <a:extLst>
                  <a:ext uri="{FF2B5EF4-FFF2-40B4-BE49-F238E27FC236}">
                    <a16:creationId xmlns:a16="http://schemas.microsoft.com/office/drawing/2014/main" id="{FC2623DF-E1A5-4AD7-8372-2879C2C965C9}"/>
                  </a:ext>
                </a:extLst>
              </p:cNvPr>
              <p:cNvSpPr/>
              <p:nvPr/>
            </p:nvSpPr>
            <p:spPr>
              <a:xfrm>
                <a:off x="1785242" y="3590111"/>
                <a:ext cx="3530807" cy="1086451"/>
              </a:xfrm>
              <a:prstGeom prst="rect">
                <a:avLst/>
              </a:prstGeom>
            </p:spPr>
            <p:txBody>
              <a:bodyPr wrap="square" lIns="91440" tIns="0" bIns="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914192">
                  <a:spcAft>
                    <a:spcPts val="400"/>
                  </a:spcAft>
                  <a:defRPr/>
                </a:pPr>
                <a:r>
                  <a:rPr lang="en-US" sz="1600">
                    <a:solidFill>
                      <a:srgbClr val="0070C0"/>
                    </a:solidFill>
                    <a:cs typeface="Segoe UI" panose="020B0502040204020203" pitchFamily="34" charset="0"/>
                  </a:rPr>
                  <a:t>Best for businesses that want to </a:t>
                </a:r>
                <a:r>
                  <a:rPr lang="en-US" sz="1600" b="1">
                    <a:solidFill>
                      <a:srgbClr val="0070C0"/>
                    </a:solidFill>
                    <a:cs typeface="Segoe UI" panose="020B0502040204020203" pitchFamily="34" charset="0"/>
                  </a:rPr>
                  <a:t>license active users for each app</a:t>
                </a:r>
                <a:r>
                  <a:rPr lang="en-US" sz="1600" baseline="30000">
                    <a:solidFill>
                      <a:srgbClr val="0070C0"/>
                    </a:solidFill>
                    <a:cs typeface="Segoe UI" panose="020B0502040204020203" pitchFamily="34" charset="0"/>
                  </a:rPr>
                  <a:t>1</a:t>
                </a:r>
                <a:r>
                  <a:rPr lang="en-US" sz="1600">
                    <a:solidFill>
                      <a:srgbClr val="0070C0"/>
                    </a:solidFill>
                    <a:cs typeface="Segoe UI" panose="020B0502040204020203" pitchFamily="34" charset="0"/>
                  </a:rPr>
                  <a:t> </a:t>
                </a:r>
                <a:r>
                  <a:rPr lang="en-US" sz="1600" b="1">
                    <a:solidFill>
                      <a:srgbClr val="0070C0"/>
                    </a:solidFill>
                    <a:cs typeface="Segoe UI" panose="020B0502040204020203" pitchFamily="34" charset="0"/>
                  </a:rPr>
                  <a:t>they run and pay later based on consumption</a:t>
                </a:r>
                <a:endParaRPr lang="en-US" sz="1600">
                  <a:solidFill>
                    <a:srgbClr val="0070C0"/>
                  </a:solidFill>
                  <a:cs typeface="Segoe UI" panose="020B0502040204020203" pitchFamily="34" charset="0"/>
                </a:endParaRPr>
              </a:p>
              <a:p>
                <a:pPr marL="0" lvl="1" defTabSz="914192">
                  <a:spcAft>
                    <a:spcPts val="400"/>
                  </a:spcAft>
                  <a:defRPr/>
                </a:pPr>
                <a:endParaRPr lang="en-US" sz="1600">
                  <a:solidFill>
                    <a:srgbClr val="000000"/>
                  </a:solidFill>
                  <a:cs typeface="Segoe UI" panose="020B0502040204020203" pitchFamily="34" charset="0"/>
                </a:endParaRPr>
              </a:p>
            </p:txBody>
          </p:sp>
          <p:sp>
            <p:nvSpPr>
              <p:cNvPr id="38" name="Rectangle 37">
                <a:extLst>
                  <a:ext uri="{FF2B5EF4-FFF2-40B4-BE49-F238E27FC236}">
                    <a16:creationId xmlns:a16="http://schemas.microsoft.com/office/drawing/2014/main" id="{08196825-5917-40C9-9CBE-C21712F31715}"/>
                  </a:ext>
                </a:extLst>
              </p:cNvPr>
              <p:cNvSpPr/>
              <p:nvPr/>
            </p:nvSpPr>
            <p:spPr>
              <a:xfrm>
                <a:off x="1774719" y="1600317"/>
                <a:ext cx="3530807" cy="700120"/>
              </a:xfrm>
              <a:prstGeom prst="rect">
                <a:avLst/>
              </a:prstGeom>
              <a:solidFill>
                <a:srgbClr val="243A5E"/>
              </a:solidFill>
              <a:ln w="6350">
                <a:solidFill>
                  <a:srgbClr val="243A5E"/>
                </a:solidFill>
              </a:ln>
            </p:spPr>
            <p:txBody>
              <a:bodyPr wrap="square" lIns="9144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defTabSz="91404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rPr>
                  <a:t>Power Apps </a:t>
                </a:r>
                <a:br>
                  <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rPr>
                </a:br>
                <a:r>
                  <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rPr>
                  <a:t>per app pay-as-you-go</a:t>
                </a:r>
              </a:p>
            </p:txBody>
          </p:sp>
          <p:grpSp>
            <p:nvGrpSpPr>
              <p:cNvPr id="39" name="Group 38">
                <a:extLst>
                  <a:ext uri="{FF2B5EF4-FFF2-40B4-BE49-F238E27FC236}">
                    <a16:creationId xmlns:a16="http://schemas.microsoft.com/office/drawing/2014/main" id="{A6FF58ED-686A-4D0E-AB84-7A5587C93D28}"/>
                  </a:ext>
                </a:extLst>
              </p:cNvPr>
              <p:cNvGrpSpPr/>
              <p:nvPr/>
            </p:nvGrpSpPr>
            <p:grpSpPr>
              <a:xfrm>
                <a:off x="4817684" y="1703931"/>
                <a:ext cx="433594" cy="282852"/>
                <a:chOff x="2813314" y="2988890"/>
                <a:chExt cx="397155" cy="259081"/>
              </a:xfrm>
            </p:grpSpPr>
            <p:sp>
              <p:nvSpPr>
                <p:cNvPr id="40" name="Freeform: Shape 39">
                  <a:extLst>
                    <a:ext uri="{FF2B5EF4-FFF2-40B4-BE49-F238E27FC236}">
                      <a16:creationId xmlns:a16="http://schemas.microsoft.com/office/drawing/2014/main" id="{BA8728A9-5D4B-4A0C-A5AE-B066C203344C}"/>
                    </a:ext>
                  </a:extLst>
                </p:cNvPr>
                <p:cNvSpPr/>
                <p:nvPr/>
              </p:nvSpPr>
              <p:spPr>
                <a:xfrm>
                  <a:off x="2813314" y="2988890"/>
                  <a:ext cx="397155" cy="245746"/>
                </a:xfrm>
                <a:custGeom>
                  <a:avLst/>
                  <a:gdLst>
                    <a:gd name="connsiteX0" fmla="*/ 380735 w 438150"/>
                    <a:gd name="connsiteY0" fmla="*/ 208333 h 295275"/>
                    <a:gd name="connsiteX1" fmla="*/ 64505 w 438150"/>
                    <a:gd name="connsiteY1" fmla="*/ 208333 h 295275"/>
                    <a:gd name="connsiteX2" fmla="*/ 64505 w 438150"/>
                    <a:gd name="connsiteY2" fmla="*/ 7355 h 295275"/>
                    <a:gd name="connsiteX3" fmla="*/ 380735 w 438150"/>
                    <a:gd name="connsiteY3" fmla="*/ 7355 h 295275"/>
                    <a:gd name="connsiteX4" fmla="*/ 380735 w 438150"/>
                    <a:gd name="connsiteY4" fmla="*/ 208333 h 295275"/>
                    <a:gd name="connsiteX5" fmla="*/ 380735 w 438150"/>
                    <a:gd name="connsiteY5" fmla="*/ 208333 h 295275"/>
                    <a:gd name="connsiteX6" fmla="*/ 380735 w 438150"/>
                    <a:gd name="connsiteY6" fmla="*/ 208333 h 295275"/>
                    <a:gd name="connsiteX7" fmla="*/ 7355 w 438150"/>
                    <a:gd name="connsiteY7" fmla="*/ 279770 h 295275"/>
                    <a:gd name="connsiteX8" fmla="*/ 21643 w 438150"/>
                    <a:gd name="connsiteY8" fmla="*/ 294058 h 295275"/>
                    <a:gd name="connsiteX9" fmla="*/ 423598 w 438150"/>
                    <a:gd name="connsiteY9" fmla="*/ 294058 h 295275"/>
                    <a:gd name="connsiteX10" fmla="*/ 437885 w 438150"/>
                    <a:gd name="connsiteY10" fmla="*/ 279770 h 295275"/>
                    <a:gd name="connsiteX11" fmla="*/ 431218 w 438150"/>
                    <a:gd name="connsiteY11" fmla="*/ 257863 h 295275"/>
                    <a:gd name="connsiteX12" fmla="*/ 380735 w 438150"/>
                    <a:gd name="connsiteY12" fmla="*/ 207380 h 295275"/>
                    <a:gd name="connsiteX13" fmla="*/ 64505 w 438150"/>
                    <a:gd name="connsiteY13" fmla="*/ 207380 h 295275"/>
                    <a:gd name="connsiteX14" fmla="*/ 14023 w 438150"/>
                    <a:gd name="connsiteY14" fmla="*/ 257863 h 295275"/>
                    <a:gd name="connsiteX15" fmla="*/ 7355 w 438150"/>
                    <a:gd name="connsiteY15" fmla="*/ 279770 h 295275"/>
                    <a:gd name="connsiteX16" fmla="*/ 7355 w 438150"/>
                    <a:gd name="connsiteY16" fmla="*/ 27977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8150" h="295275">
                      <a:moveTo>
                        <a:pt x="380735" y="208333"/>
                      </a:moveTo>
                      <a:cubicBezTo>
                        <a:pt x="64505" y="208333"/>
                        <a:pt x="64505" y="208333"/>
                        <a:pt x="64505" y="208333"/>
                      </a:cubicBezTo>
                      <a:cubicBezTo>
                        <a:pt x="64505" y="7355"/>
                        <a:pt x="64505" y="7355"/>
                        <a:pt x="64505" y="7355"/>
                      </a:cubicBezTo>
                      <a:cubicBezTo>
                        <a:pt x="380735" y="7355"/>
                        <a:pt x="380735" y="7355"/>
                        <a:pt x="380735" y="7355"/>
                      </a:cubicBezTo>
                      <a:lnTo>
                        <a:pt x="380735" y="208333"/>
                      </a:lnTo>
                      <a:lnTo>
                        <a:pt x="380735" y="208333"/>
                      </a:lnTo>
                      <a:lnTo>
                        <a:pt x="380735" y="208333"/>
                      </a:lnTo>
                      <a:close/>
                      <a:moveTo>
                        <a:pt x="7355" y="279770"/>
                      </a:moveTo>
                      <a:cubicBezTo>
                        <a:pt x="7355" y="287390"/>
                        <a:pt x="14023" y="294058"/>
                        <a:pt x="21643" y="294058"/>
                      </a:cubicBezTo>
                      <a:cubicBezTo>
                        <a:pt x="423598" y="294058"/>
                        <a:pt x="423598" y="294058"/>
                        <a:pt x="423598" y="294058"/>
                      </a:cubicBezTo>
                      <a:cubicBezTo>
                        <a:pt x="431218" y="294058"/>
                        <a:pt x="437885" y="287390"/>
                        <a:pt x="437885" y="279770"/>
                      </a:cubicBezTo>
                      <a:cubicBezTo>
                        <a:pt x="437885" y="271198"/>
                        <a:pt x="435028" y="263578"/>
                        <a:pt x="431218" y="257863"/>
                      </a:cubicBezTo>
                      <a:cubicBezTo>
                        <a:pt x="380735" y="207380"/>
                        <a:pt x="380735" y="207380"/>
                        <a:pt x="380735" y="207380"/>
                      </a:cubicBezTo>
                      <a:cubicBezTo>
                        <a:pt x="64505" y="207380"/>
                        <a:pt x="64505" y="207380"/>
                        <a:pt x="64505" y="207380"/>
                      </a:cubicBezTo>
                      <a:cubicBezTo>
                        <a:pt x="14023" y="257863"/>
                        <a:pt x="14023" y="257863"/>
                        <a:pt x="14023" y="257863"/>
                      </a:cubicBezTo>
                      <a:cubicBezTo>
                        <a:pt x="10213" y="263578"/>
                        <a:pt x="7355" y="271198"/>
                        <a:pt x="7355" y="279770"/>
                      </a:cubicBezTo>
                      <a:lnTo>
                        <a:pt x="7355" y="279770"/>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78576DB6-CB4C-4201-9227-3E6EC4BBCF9B}"/>
                    </a:ext>
                  </a:extLst>
                </p:cNvPr>
                <p:cNvSpPr/>
                <p:nvPr/>
              </p:nvSpPr>
              <p:spPr>
                <a:xfrm>
                  <a:off x="2813314" y="3234636"/>
                  <a:ext cx="133350" cy="9525"/>
                </a:xfrm>
                <a:custGeom>
                  <a:avLst/>
                  <a:gdLst>
                    <a:gd name="connsiteX0" fmla="*/ 133085 w 133350"/>
                    <a:gd name="connsiteY0" fmla="*/ 7355 h 9525"/>
                    <a:gd name="connsiteX1" fmla="*/ 7355 w 133350"/>
                    <a:gd name="connsiteY1" fmla="*/ 7355 h 9525"/>
                  </a:gdLst>
                  <a:ahLst/>
                  <a:cxnLst>
                    <a:cxn ang="0">
                      <a:pos x="connsiteX0" y="connsiteY0"/>
                    </a:cxn>
                    <a:cxn ang="0">
                      <a:pos x="connsiteX1" y="connsiteY1"/>
                    </a:cxn>
                  </a:cxnLst>
                  <a:rect l="l" t="t" r="r" b="b"/>
                  <a:pathLst>
                    <a:path w="133350" h="9525">
                      <a:moveTo>
                        <a:pt x="133085" y="735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6D4C66B1-F7EB-474D-A540-3253B5588A11}"/>
                    </a:ext>
                  </a:extLst>
                </p:cNvPr>
                <p:cNvSpPr/>
                <p:nvPr/>
              </p:nvSpPr>
              <p:spPr>
                <a:xfrm>
                  <a:off x="2828554" y="3171771"/>
                  <a:ext cx="9525" cy="76200"/>
                </a:xfrm>
                <a:custGeom>
                  <a:avLst/>
                  <a:gdLst>
                    <a:gd name="connsiteX0" fmla="*/ 7355 w 9525"/>
                    <a:gd name="connsiteY0" fmla="*/ 70220 h 76200"/>
                    <a:gd name="connsiteX1" fmla="*/ 7355 w 9525"/>
                    <a:gd name="connsiteY1" fmla="*/ 7355 h 76200"/>
                  </a:gdLst>
                  <a:ahLst/>
                  <a:cxnLst>
                    <a:cxn ang="0">
                      <a:pos x="connsiteX0" y="connsiteY0"/>
                    </a:cxn>
                    <a:cxn ang="0">
                      <a:pos x="connsiteX1" y="connsiteY1"/>
                    </a:cxn>
                  </a:cxnLst>
                  <a:rect l="l" t="t" r="r" b="b"/>
                  <a:pathLst>
                    <a:path w="9525" h="76200">
                      <a:moveTo>
                        <a:pt x="7355" y="70220"/>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62D5C5C-E8FF-450E-B5B2-8E70D972356B}"/>
                    </a:ext>
                  </a:extLst>
                </p:cNvPr>
                <p:cNvSpPr/>
                <p:nvPr/>
              </p:nvSpPr>
              <p:spPr>
                <a:xfrm>
                  <a:off x="2858081" y="3192726"/>
                  <a:ext cx="9525" cy="47625"/>
                </a:xfrm>
                <a:custGeom>
                  <a:avLst/>
                  <a:gdLst>
                    <a:gd name="connsiteX0" fmla="*/ 7355 w 9525"/>
                    <a:gd name="connsiteY0" fmla="*/ 49265 h 47625"/>
                    <a:gd name="connsiteX1" fmla="*/ 7355 w 9525"/>
                    <a:gd name="connsiteY1" fmla="*/ 7355 h 47625"/>
                  </a:gdLst>
                  <a:ahLst/>
                  <a:cxnLst>
                    <a:cxn ang="0">
                      <a:pos x="connsiteX0" y="connsiteY0"/>
                    </a:cxn>
                    <a:cxn ang="0">
                      <a:pos x="connsiteX1" y="connsiteY1"/>
                    </a:cxn>
                  </a:cxnLst>
                  <a:rect l="l" t="t" r="r" b="b"/>
                  <a:pathLst>
                    <a:path w="9525" h="47625">
                      <a:moveTo>
                        <a:pt x="7355" y="4926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61A84379-C614-4125-A133-062339056043}"/>
                    </a:ext>
                  </a:extLst>
                </p:cNvPr>
                <p:cNvSpPr/>
                <p:nvPr/>
              </p:nvSpPr>
              <p:spPr>
                <a:xfrm>
                  <a:off x="2887609" y="3187964"/>
                  <a:ext cx="9525" cy="57150"/>
                </a:xfrm>
                <a:custGeom>
                  <a:avLst/>
                  <a:gdLst>
                    <a:gd name="connsiteX0" fmla="*/ 7355 w 9525"/>
                    <a:gd name="connsiteY0" fmla="*/ 54028 h 57150"/>
                    <a:gd name="connsiteX1" fmla="*/ 7355 w 9525"/>
                    <a:gd name="connsiteY1" fmla="*/ 7355 h 57150"/>
                  </a:gdLst>
                  <a:ahLst/>
                  <a:cxnLst>
                    <a:cxn ang="0">
                      <a:pos x="connsiteX0" y="connsiteY0"/>
                    </a:cxn>
                    <a:cxn ang="0">
                      <a:pos x="connsiteX1" y="connsiteY1"/>
                    </a:cxn>
                  </a:cxnLst>
                  <a:rect l="l" t="t" r="r" b="b"/>
                  <a:pathLst>
                    <a:path w="9525" h="57150">
                      <a:moveTo>
                        <a:pt x="7355" y="54028"/>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424307F8-8E51-437E-837F-243AF3ABB24B}"/>
                    </a:ext>
                  </a:extLst>
                </p:cNvPr>
                <p:cNvSpPr/>
                <p:nvPr/>
              </p:nvSpPr>
              <p:spPr>
                <a:xfrm>
                  <a:off x="2918089" y="3212729"/>
                  <a:ext cx="9525" cy="28575"/>
                </a:xfrm>
                <a:custGeom>
                  <a:avLst/>
                  <a:gdLst>
                    <a:gd name="connsiteX0" fmla="*/ 7355 w 9525"/>
                    <a:gd name="connsiteY0" fmla="*/ 29263 h 28575"/>
                    <a:gd name="connsiteX1" fmla="*/ 7355 w 9525"/>
                    <a:gd name="connsiteY1" fmla="*/ 7355 h 28575"/>
                  </a:gdLst>
                  <a:ahLst/>
                  <a:cxnLst>
                    <a:cxn ang="0">
                      <a:pos x="connsiteX0" y="connsiteY0"/>
                    </a:cxn>
                    <a:cxn ang="0">
                      <a:pos x="connsiteX1" y="connsiteY1"/>
                    </a:cxn>
                  </a:cxnLst>
                  <a:rect l="l" t="t" r="r" b="b"/>
                  <a:pathLst>
                    <a:path w="9525" h="28575">
                      <a:moveTo>
                        <a:pt x="7355" y="29263"/>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CE4CA049-AEBF-4FA0-A466-E5E0E9982FDC}"/>
                    </a:ext>
                  </a:extLst>
                </p:cNvPr>
                <p:cNvSpPr/>
                <p:nvPr/>
              </p:nvSpPr>
              <p:spPr>
                <a:xfrm>
                  <a:off x="2824744" y="3103191"/>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08E42AB-F1D7-4C19-ACA9-4714D44FC9CC}"/>
                    </a:ext>
                  </a:extLst>
                </p:cNvPr>
                <p:cNvSpPr/>
                <p:nvPr/>
              </p:nvSpPr>
              <p:spPr>
                <a:xfrm>
                  <a:off x="2824744" y="3127956"/>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D8C09E32-FE42-450D-BBEB-DB5A2E8887CD}"/>
                    </a:ext>
                  </a:extLst>
                </p:cNvPr>
                <p:cNvSpPr/>
                <p:nvPr/>
              </p:nvSpPr>
              <p:spPr>
                <a:xfrm>
                  <a:off x="2984764" y="3210824"/>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7D480DD2-7275-4996-995F-9E2B67B50F10}"/>
                    </a:ext>
                  </a:extLst>
                </p:cNvPr>
                <p:cNvSpPr/>
                <p:nvPr/>
              </p:nvSpPr>
              <p:spPr>
                <a:xfrm>
                  <a:off x="2984764" y="3235589"/>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C554AC4D-49D5-4AC9-A34E-9104221DB429}"/>
                    </a:ext>
                  </a:extLst>
                </p:cNvPr>
                <p:cNvSpPr/>
                <p:nvPr/>
              </p:nvSpPr>
              <p:spPr>
                <a:xfrm>
                  <a:off x="2989526" y="3094619"/>
                  <a:ext cx="76200" cy="76200"/>
                </a:xfrm>
                <a:custGeom>
                  <a:avLst/>
                  <a:gdLst>
                    <a:gd name="connsiteX0" fmla="*/ 77840 w 76200"/>
                    <a:gd name="connsiteY0" fmla="*/ 42598 h 76200"/>
                    <a:gd name="connsiteX1" fmla="*/ 42598 w 76200"/>
                    <a:gd name="connsiteY1" fmla="*/ 77840 h 76200"/>
                    <a:gd name="connsiteX2" fmla="*/ 7355 w 76200"/>
                    <a:gd name="connsiteY2" fmla="*/ 42598 h 76200"/>
                    <a:gd name="connsiteX3" fmla="*/ 42598 w 76200"/>
                    <a:gd name="connsiteY3" fmla="*/ 7355 h 76200"/>
                    <a:gd name="connsiteX4" fmla="*/ 77840 w 76200"/>
                    <a:gd name="connsiteY4" fmla="*/ 4259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840" y="42598"/>
                      </a:moveTo>
                      <a:cubicBezTo>
                        <a:pt x="77840" y="62062"/>
                        <a:pt x="62062" y="77840"/>
                        <a:pt x="42598" y="77840"/>
                      </a:cubicBezTo>
                      <a:cubicBezTo>
                        <a:pt x="23134" y="77840"/>
                        <a:pt x="7355" y="62062"/>
                        <a:pt x="7355" y="42598"/>
                      </a:cubicBezTo>
                      <a:cubicBezTo>
                        <a:pt x="7355" y="23134"/>
                        <a:pt x="23134" y="7355"/>
                        <a:pt x="42598" y="7355"/>
                      </a:cubicBezTo>
                      <a:cubicBezTo>
                        <a:pt x="62062" y="7355"/>
                        <a:pt x="77840" y="23134"/>
                        <a:pt x="77840" y="42598"/>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90B170A-03E2-4327-A553-BB7DA1324371}"/>
                    </a:ext>
                  </a:extLst>
                </p:cNvPr>
                <p:cNvSpPr/>
                <p:nvPr/>
              </p:nvSpPr>
              <p:spPr>
                <a:xfrm>
                  <a:off x="3027626" y="3103191"/>
                  <a:ext cx="28575" cy="38100"/>
                </a:xfrm>
                <a:custGeom>
                  <a:avLst/>
                  <a:gdLst>
                    <a:gd name="connsiteX0" fmla="*/ 24500 w 28575"/>
                    <a:gd name="connsiteY0" fmla="*/ 7355 h 38100"/>
                    <a:gd name="connsiteX1" fmla="*/ 7355 w 28575"/>
                    <a:gd name="connsiteY1" fmla="*/ 33073 h 38100"/>
                  </a:gdLst>
                  <a:ahLst/>
                  <a:cxnLst>
                    <a:cxn ang="0">
                      <a:pos x="connsiteX0" y="connsiteY0"/>
                    </a:cxn>
                    <a:cxn ang="0">
                      <a:pos x="connsiteX1" y="connsiteY1"/>
                    </a:cxn>
                  </a:cxnLst>
                  <a:rect l="l" t="t" r="r" b="b"/>
                  <a:pathLst>
                    <a:path w="28575" h="38100">
                      <a:moveTo>
                        <a:pt x="24500" y="7355"/>
                      </a:moveTo>
                      <a:lnTo>
                        <a:pt x="7355" y="33073"/>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82D26AC7-648E-4250-8F53-D617593CAD6C}"/>
                    </a:ext>
                  </a:extLst>
                </p:cNvPr>
                <p:cNvSpPr/>
                <p:nvPr/>
              </p:nvSpPr>
              <p:spPr>
                <a:xfrm>
                  <a:off x="3016196" y="3097476"/>
                  <a:ext cx="47625" cy="66675"/>
                </a:xfrm>
                <a:custGeom>
                  <a:avLst/>
                  <a:gdLst>
                    <a:gd name="connsiteX0" fmla="*/ 7355 w 47625"/>
                    <a:gd name="connsiteY0" fmla="*/ 7355 h 66675"/>
                    <a:gd name="connsiteX1" fmla="*/ 15928 w 47625"/>
                    <a:gd name="connsiteY1" fmla="*/ 39740 h 66675"/>
                    <a:gd name="connsiteX2" fmla="*/ 40693 w 47625"/>
                    <a:gd name="connsiteY2" fmla="*/ 60695 h 66675"/>
                  </a:gdLst>
                  <a:ahLst/>
                  <a:cxnLst>
                    <a:cxn ang="0">
                      <a:pos x="connsiteX0" y="connsiteY0"/>
                    </a:cxn>
                    <a:cxn ang="0">
                      <a:pos x="connsiteX1" y="connsiteY1"/>
                    </a:cxn>
                    <a:cxn ang="0">
                      <a:pos x="connsiteX2" y="connsiteY2"/>
                    </a:cxn>
                  </a:cxnLst>
                  <a:rect l="l" t="t" r="r" b="b"/>
                  <a:pathLst>
                    <a:path w="47625" h="66675">
                      <a:moveTo>
                        <a:pt x="7355" y="7355"/>
                      </a:moveTo>
                      <a:lnTo>
                        <a:pt x="15928" y="39740"/>
                      </a:lnTo>
                      <a:lnTo>
                        <a:pt x="40693" y="6069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DD09C7BA-EDE0-45F7-8FB2-8B601047825F}"/>
                </a:ext>
              </a:extLst>
            </p:cNvPr>
            <p:cNvGrpSpPr/>
            <p:nvPr/>
          </p:nvGrpSpPr>
          <p:grpSpPr>
            <a:xfrm>
              <a:off x="10955486" y="1658697"/>
              <a:ext cx="385799" cy="293577"/>
              <a:chOff x="2813314" y="3066996"/>
              <a:chExt cx="353377" cy="268905"/>
            </a:xfrm>
          </p:grpSpPr>
          <p:sp>
            <p:nvSpPr>
              <p:cNvPr id="21" name="Freeform: Shape 20">
                <a:extLst>
                  <a:ext uri="{FF2B5EF4-FFF2-40B4-BE49-F238E27FC236}">
                    <a16:creationId xmlns:a16="http://schemas.microsoft.com/office/drawing/2014/main" id="{71A110C6-7EF8-4008-B650-E68A00209D96}"/>
                  </a:ext>
                </a:extLst>
              </p:cNvPr>
              <p:cNvSpPr/>
              <p:nvPr/>
            </p:nvSpPr>
            <p:spPr>
              <a:xfrm>
                <a:off x="2824744" y="3066996"/>
                <a:ext cx="341947" cy="268905"/>
              </a:xfrm>
              <a:custGeom>
                <a:avLst/>
                <a:gdLst>
                  <a:gd name="connsiteX0" fmla="*/ 380735 w 438150"/>
                  <a:gd name="connsiteY0" fmla="*/ 208333 h 295275"/>
                  <a:gd name="connsiteX1" fmla="*/ 64505 w 438150"/>
                  <a:gd name="connsiteY1" fmla="*/ 208333 h 295275"/>
                  <a:gd name="connsiteX2" fmla="*/ 64505 w 438150"/>
                  <a:gd name="connsiteY2" fmla="*/ 7355 h 295275"/>
                  <a:gd name="connsiteX3" fmla="*/ 380735 w 438150"/>
                  <a:gd name="connsiteY3" fmla="*/ 7355 h 295275"/>
                  <a:gd name="connsiteX4" fmla="*/ 380735 w 438150"/>
                  <a:gd name="connsiteY4" fmla="*/ 208333 h 295275"/>
                  <a:gd name="connsiteX5" fmla="*/ 380735 w 438150"/>
                  <a:gd name="connsiteY5" fmla="*/ 208333 h 295275"/>
                  <a:gd name="connsiteX6" fmla="*/ 380735 w 438150"/>
                  <a:gd name="connsiteY6" fmla="*/ 208333 h 295275"/>
                  <a:gd name="connsiteX7" fmla="*/ 7355 w 438150"/>
                  <a:gd name="connsiteY7" fmla="*/ 279770 h 295275"/>
                  <a:gd name="connsiteX8" fmla="*/ 21643 w 438150"/>
                  <a:gd name="connsiteY8" fmla="*/ 294058 h 295275"/>
                  <a:gd name="connsiteX9" fmla="*/ 423598 w 438150"/>
                  <a:gd name="connsiteY9" fmla="*/ 294058 h 295275"/>
                  <a:gd name="connsiteX10" fmla="*/ 437885 w 438150"/>
                  <a:gd name="connsiteY10" fmla="*/ 279770 h 295275"/>
                  <a:gd name="connsiteX11" fmla="*/ 431218 w 438150"/>
                  <a:gd name="connsiteY11" fmla="*/ 257863 h 295275"/>
                  <a:gd name="connsiteX12" fmla="*/ 380735 w 438150"/>
                  <a:gd name="connsiteY12" fmla="*/ 207380 h 295275"/>
                  <a:gd name="connsiteX13" fmla="*/ 64505 w 438150"/>
                  <a:gd name="connsiteY13" fmla="*/ 207380 h 295275"/>
                  <a:gd name="connsiteX14" fmla="*/ 14023 w 438150"/>
                  <a:gd name="connsiteY14" fmla="*/ 257863 h 295275"/>
                  <a:gd name="connsiteX15" fmla="*/ 7355 w 438150"/>
                  <a:gd name="connsiteY15" fmla="*/ 279770 h 295275"/>
                  <a:gd name="connsiteX16" fmla="*/ 7355 w 438150"/>
                  <a:gd name="connsiteY16" fmla="*/ 27977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8150" h="295275">
                    <a:moveTo>
                      <a:pt x="380735" y="208333"/>
                    </a:moveTo>
                    <a:cubicBezTo>
                      <a:pt x="64505" y="208333"/>
                      <a:pt x="64505" y="208333"/>
                      <a:pt x="64505" y="208333"/>
                    </a:cubicBezTo>
                    <a:cubicBezTo>
                      <a:pt x="64505" y="7355"/>
                      <a:pt x="64505" y="7355"/>
                      <a:pt x="64505" y="7355"/>
                    </a:cubicBezTo>
                    <a:cubicBezTo>
                      <a:pt x="380735" y="7355"/>
                      <a:pt x="380735" y="7355"/>
                      <a:pt x="380735" y="7355"/>
                    </a:cubicBezTo>
                    <a:lnTo>
                      <a:pt x="380735" y="208333"/>
                    </a:lnTo>
                    <a:lnTo>
                      <a:pt x="380735" y="208333"/>
                    </a:lnTo>
                    <a:lnTo>
                      <a:pt x="380735" y="208333"/>
                    </a:lnTo>
                    <a:close/>
                    <a:moveTo>
                      <a:pt x="7355" y="279770"/>
                    </a:moveTo>
                    <a:cubicBezTo>
                      <a:pt x="7355" y="287390"/>
                      <a:pt x="14023" y="294058"/>
                      <a:pt x="21643" y="294058"/>
                    </a:cubicBezTo>
                    <a:cubicBezTo>
                      <a:pt x="423598" y="294058"/>
                      <a:pt x="423598" y="294058"/>
                      <a:pt x="423598" y="294058"/>
                    </a:cubicBezTo>
                    <a:cubicBezTo>
                      <a:pt x="431218" y="294058"/>
                      <a:pt x="437885" y="287390"/>
                      <a:pt x="437885" y="279770"/>
                    </a:cubicBezTo>
                    <a:cubicBezTo>
                      <a:pt x="437885" y="271198"/>
                      <a:pt x="435028" y="263578"/>
                      <a:pt x="431218" y="257863"/>
                    </a:cubicBezTo>
                    <a:cubicBezTo>
                      <a:pt x="380735" y="207380"/>
                      <a:pt x="380735" y="207380"/>
                      <a:pt x="380735" y="207380"/>
                    </a:cubicBezTo>
                    <a:cubicBezTo>
                      <a:pt x="64505" y="207380"/>
                      <a:pt x="64505" y="207380"/>
                      <a:pt x="64505" y="207380"/>
                    </a:cubicBezTo>
                    <a:cubicBezTo>
                      <a:pt x="14023" y="257863"/>
                      <a:pt x="14023" y="257863"/>
                      <a:pt x="14023" y="257863"/>
                    </a:cubicBezTo>
                    <a:cubicBezTo>
                      <a:pt x="10213" y="263578"/>
                      <a:pt x="7355" y="271198"/>
                      <a:pt x="7355" y="279770"/>
                    </a:cubicBezTo>
                    <a:lnTo>
                      <a:pt x="7355" y="279770"/>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6134A510-5A44-4C07-827B-B772ABD1BB63}"/>
                  </a:ext>
                </a:extLst>
              </p:cNvPr>
              <p:cNvSpPr/>
              <p:nvPr/>
            </p:nvSpPr>
            <p:spPr>
              <a:xfrm>
                <a:off x="2813314" y="3234636"/>
                <a:ext cx="133350" cy="9525"/>
              </a:xfrm>
              <a:custGeom>
                <a:avLst/>
                <a:gdLst>
                  <a:gd name="connsiteX0" fmla="*/ 133085 w 133350"/>
                  <a:gd name="connsiteY0" fmla="*/ 7355 h 9525"/>
                  <a:gd name="connsiteX1" fmla="*/ 7355 w 133350"/>
                  <a:gd name="connsiteY1" fmla="*/ 7355 h 9525"/>
                </a:gdLst>
                <a:ahLst/>
                <a:cxnLst>
                  <a:cxn ang="0">
                    <a:pos x="connsiteX0" y="connsiteY0"/>
                  </a:cxn>
                  <a:cxn ang="0">
                    <a:pos x="connsiteX1" y="connsiteY1"/>
                  </a:cxn>
                </a:cxnLst>
                <a:rect l="l" t="t" r="r" b="b"/>
                <a:pathLst>
                  <a:path w="133350" h="9525">
                    <a:moveTo>
                      <a:pt x="133085" y="735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5322FF8D-CF07-4A5B-BAE0-0E2F79B60D5D}"/>
                  </a:ext>
                </a:extLst>
              </p:cNvPr>
              <p:cNvSpPr/>
              <p:nvPr/>
            </p:nvSpPr>
            <p:spPr>
              <a:xfrm>
                <a:off x="2828554" y="3171771"/>
                <a:ext cx="9525" cy="76200"/>
              </a:xfrm>
              <a:custGeom>
                <a:avLst/>
                <a:gdLst>
                  <a:gd name="connsiteX0" fmla="*/ 7355 w 9525"/>
                  <a:gd name="connsiteY0" fmla="*/ 70220 h 76200"/>
                  <a:gd name="connsiteX1" fmla="*/ 7355 w 9525"/>
                  <a:gd name="connsiteY1" fmla="*/ 7355 h 76200"/>
                </a:gdLst>
                <a:ahLst/>
                <a:cxnLst>
                  <a:cxn ang="0">
                    <a:pos x="connsiteX0" y="connsiteY0"/>
                  </a:cxn>
                  <a:cxn ang="0">
                    <a:pos x="connsiteX1" y="connsiteY1"/>
                  </a:cxn>
                </a:cxnLst>
                <a:rect l="l" t="t" r="r" b="b"/>
                <a:pathLst>
                  <a:path w="9525" h="76200">
                    <a:moveTo>
                      <a:pt x="7355" y="70220"/>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1CB02D48-A382-4FFE-9C90-96CA326A2D82}"/>
                  </a:ext>
                </a:extLst>
              </p:cNvPr>
              <p:cNvSpPr/>
              <p:nvPr/>
            </p:nvSpPr>
            <p:spPr>
              <a:xfrm>
                <a:off x="2858081" y="3192726"/>
                <a:ext cx="9525" cy="47625"/>
              </a:xfrm>
              <a:custGeom>
                <a:avLst/>
                <a:gdLst>
                  <a:gd name="connsiteX0" fmla="*/ 7355 w 9525"/>
                  <a:gd name="connsiteY0" fmla="*/ 49265 h 47625"/>
                  <a:gd name="connsiteX1" fmla="*/ 7355 w 9525"/>
                  <a:gd name="connsiteY1" fmla="*/ 7355 h 47625"/>
                </a:gdLst>
                <a:ahLst/>
                <a:cxnLst>
                  <a:cxn ang="0">
                    <a:pos x="connsiteX0" y="connsiteY0"/>
                  </a:cxn>
                  <a:cxn ang="0">
                    <a:pos x="connsiteX1" y="connsiteY1"/>
                  </a:cxn>
                </a:cxnLst>
                <a:rect l="l" t="t" r="r" b="b"/>
                <a:pathLst>
                  <a:path w="9525" h="47625">
                    <a:moveTo>
                      <a:pt x="7355" y="4926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D22EE9EE-6367-478F-A2D3-B32ECD91DBCF}"/>
                  </a:ext>
                </a:extLst>
              </p:cNvPr>
              <p:cNvSpPr/>
              <p:nvPr/>
            </p:nvSpPr>
            <p:spPr>
              <a:xfrm>
                <a:off x="2887609" y="3187964"/>
                <a:ext cx="9525" cy="57150"/>
              </a:xfrm>
              <a:custGeom>
                <a:avLst/>
                <a:gdLst>
                  <a:gd name="connsiteX0" fmla="*/ 7355 w 9525"/>
                  <a:gd name="connsiteY0" fmla="*/ 54028 h 57150"/>
                  <a:gd name="connsiteX1" fmla="*/ 7355 w 9525"/>
                  <a:gd name="connsiteY1" fmla="*/ 7355 h 57150"/>
                </a:gdLst>
                <a:ahLst/>
                <a:cxnLst>
                  <a:cxn ang="0">
                    <a:pos x="connsiteX0" y="connsiteY0"/>
                  </a:cxn>
                  <a:cxn ang="0">
                    <a:pos x="connsiteX1" y="connsiteY1"/>
                  </a:cxn>
                </a:cxnLst>
                <a:rect l="l" t="t" r="r" b="b"/>
                <a:pathLst>
                  <a:path w="9525" h="57150">
                    <a:moveTo>
                      <a:pt x="7355" y="54028"/>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0625E73-CCD9-4DB1-AB79-AC3315A7FB40}"/>
                  </a:ext>
                </a:extLst>
              </p:cNvPr>
              <p:cNvSpPr/>
              <p:nvPr/>
            </p:nvSpPr>
            <p:spPr>
              <a:xfrm>
                <a:off x="2918089" y="3212729"/>
                <a:ext cx="9525" cy="28575"/>
              </a:xfrm>
              <a:custGeom>
                <a:avLst/>
                <a:gdLst>
                  <a:gd name="connsiteX0" fmla="*/ 7355 w 9525"/>
                  <a:gd name="connsiteY0" fmla="*/ 29263 h 28575"/>
                  <a:gd name="connsiteX1" fmla="*/ 7355 w 9525"/>
                  <a:gd name="connsiteY1" fmla="*/ 7355 h 28575"/>
                </a:gdLst>
                <a:ahLst/>
                <a:cxnLst>
                  <a:cxn ang="0">
                    <a:pos x="connsiteX0" y="connsiteY0"/>
                  </a:cxn>
                  <a:cxn ang="0">
                    <a:pos x="connsiteX1" y="connsiteY1"/>
                  </a:cxn>
                </a:cxnLst>
                <a:rect l="l" t="t" r="r" b="b"/>
                <a:pathLst>
                  <a:path w="9525" h="28575">
                    <a:moveTo>
                      <a:pt x="7355" y="29263"/>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769F2D70-09D4-4B5B-9A05-0EAF2B22455B}"/>
                  </a:ext>
                </a:extLst>
              </p:cNvPr>
              <p:cNvSpPr/>
              <p:nvPr/>
            </p:nvSpPr>
            <p:spPr>
              <a:xfrm>
                <a:off x="2824744" y="3103191"/>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F6A25357-6200-4EE6-BE29-9E2712E97A56}"/>
                  </a:ext>
                </a:extLst>
              </p:cNvPr>
              <p:cNvSpPr/>
              <p:nvPr/>
            </p:nvSpPr>
            <p:spPr>
              <a:xfrm>
                <a:off x="2824744" y="3127956"/>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B409872E-3D3B-4C94-99E2-5AD0ADFA297F}"/>
                  </a:ext>
                </a:extLst>
              </p:cNvPr>
              <p:cNvSpPr/>
              <p:nvPr/>
            </p:nvSpPr>
            <p:spPr>
              <a:xfrm>
                <a:off x="2984764" y="3210824"/>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5F8ABE63-3B69-466B-BC83-B9BDC0DBAF0E}"/>
                  </a:ext>
                </a:extLst>
              </p:cNvPr>
              <p:cNvSpPr/>
              <p:nvPr/>
            </p:nvSpPr>
            <p:spPr>
              <a:xfrm>
                <a:off x="2984764" y="3235589"/>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ADB63904-9062-4185-AC51-55E7DD5864E5}"/>
                  </a:ext>
                </a:extLst>
              </p:cNvPr>
              <p:cNvSpPr/>
              <p:nvPr/>
            </p:nvSpPr>
            <p:spPr>
              <a:xfrm>
                <a:off x="2989526" y="3094619"/>
                <a:ext cx="76200" cy="76200"/>
              </a:xfrm>
              <a:custGeom>
                <a:avLst/>
                <a:gdLst>
                  <a:gd name="connsiteX0" fmla="*/ 77840 w 76200"/>
                  <a:gd name="connsiteY0" fmla="*/ 42598 h 76200"/>
                  <a:gd name="connsiteX1" fmla="*/ 42598 w 76200"/>
                  <a:gd name="connsiteY1" fmla="*/ 77840 h 76200"/>
                  <a:gd name="connsiteX2" fmla="*/ 7355 w 76200"/>
                  <a:gd name="connsiteY2" fmla="*/ 42598 h 76200"/>
                  <a:gd name="connsiteX3" fmla="*/ 42598 w 76200"/>
                  <a:gd name="connsiteY3" fmla="*/ 7355 h 76200"/>
                  <a:gd name="connsiteX4" fmla="*/ 77840 w 76200"/>
                  <a:gd name="connsiteY4" fmla="*/ 4259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840" y="42598"/>
                    </a:moveTo>
                    <a:cubicBezTo>
                      <a:pt x="77840" y="62062"/>
                      <a:pt x="62062" y="77840"/>
                      <a:pt x="42598" y="77840"/>
                    </a:cubicBezTo>
                    <a:cubicBezTo>
                      <a:pt x="23134" y="77840"/>
                      <a:pt x="7355" y="62062"/>
                      <a:pt x="7355" y="42598"/>
                    </a:cubicBezTo>
                    <a:cubicBezTo>
                      <a:pt x="7355" y="23134"/>
                      <a:pt x="23134" y="7355"/>
                      <a:pt x="42598" y="7355"/>
                    </a:cubicBezTo>
                    <a:cubicBezTo>
                      <a:pt x="62062" y="7355"/>
                      <a:pt x="77840" y="23134"/>
                      <a:pt x="77840" y="42598"/>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B99CE30F-3C01-4C5B-9E06-1D1FBAC6DDA8}"/>
                  </a:ext>
                </a:extLst>
              </p:cNvPr>
              <p:cNvSpPr/>
              <p:nvPr/>
            </p:nvSpPr>
            <p:spPr>
              <a:xfrm>
                <a:off x="3027626" y="3103191"/>
                <a:ext cx="28575" cy="38100"/>
              </a:xfrm>
              <a:custGeom>
                <a:avLst/>
                <a:gdLst>
                  <a:gd name="connsiteX0" fmla="*/ 24500 w 28575"/>
                  <a:gd name="connsiteY0" fmla="*/ 7355 h 38100"/>
                  <a:gd name="connsiteX1" fmla="*/ 7355 w 28575"/>
                  <a:gd name="connsiteY1" fmla="*/ 33073 h 38100"/>
                </a:gdLst>
                <a:ahLst/>
                <a:cxnLst>
                  <a:cxn ang="0">
                    <a:pos x="connsiteX0" y="connsiteY0"/>
                  </a:cxn>
                  <a:cxn ang="0">
                    <a:pos x="connsiteX1" y="connsiteY1"/>
                  </a:cxn>
                </a:cxnLst>
                <a:rect l="l" t="t" r="r" b="b"/>
                <a:pathLst>
                  <a:path w="28575" h="38100">
                    <a:moveTo>
                      <a:pt x="24500" y="7355"/>
                    </a:moveTo>
                    <a:lnTo>
                      <a:pt x="7355" y="33073"/>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74A68182-0325-449C-B36B-83C71632BB83}"/>
                  </a:ext>
                </a:extLst>
              </p:cNvPr>
              <p:cNvSpPr/>
              <p:nvPr/>
            </p:nvSpPr>
            <p:spPr>
              <a:xfrm>
                <a:off x="3016196" y="3097476"/>
                <a:ext cx="47625" cy="66675"/>
              </a:xfrm>
              <a:custGeom>
                <a:avLst/>
                <a:gdLst>
                  <a:gd name="connsiteX0" fmla="*/ 7355 w 47625"/>
                  <a:gd name="connsiteY0" fmla="*/ 7355 h 66675"/>
                  <a:gd name="connsiteX1" fmla="*/ 15928 w 47625"/>
                  <a:gd name="connsiteY1" fmla="*/ 39740 h 66675"/>
                  <a:gd name="connsiteX2" fmla="*/ 40693 w 47625"/>
                  <a:gd name="connsiteY2" fmla="*/ 60695 h 66675"/>
                </a:gdLst>
                <a:ahLst/>
                <a:cxnLst>
                  <a:cxn ang="0">
                    <a:pos x="connsiteX0" y="connsiteY0"/>
                  </a:cxn>
                  <a:cxn ang="0">
                    <a:pos x="connsiteX1" y="connsiteY1"/>
                  </a:cxn>
                  <a:cxn ang="0">
                    <a:pos x="connsiteX2" y="connsiteY2"/>
                  </a:cxn>
                </a:cxnLst>
                <a:rect l="l" t="t" r="r" b="b"/>
                <a:pathLst>
                  <a:path w="47625" h="66675">
                    <a:moveTo>
                      <a:pt x="7355" y="7355"/>
                    </a:moveTo>
                    <a:lnTo>
                      <a:pt x="15928" y="39740"/>
                    </a:lnTo>
                    <a:lnTo>
                      <a:pt x="40693" y="6069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3" name="TextBox 68">
            <a:extLst>
              <a:ext uri="{FF2B5EF4-FFF2-40B4-BE49-F238E27FC236}">
                <a16:creationId xmlns:a16="http://schemas.microsoft.com/office/drawing/2014/main" id="{C38FC2DA-6A4C-4D4C-AD4F-9785F4017353}"/>
              </a:ext>
            </a:extLst>
          </p:cNvPr>
          <p:cNvSpPr txBox="1"/>
          <p:nvPr/>
        </p:nvSpPr>
        <p:spPr>
          <a:xfrm>
            <a:off x="4915596" y="1181477"/>
            <a:ext cx="6481010" cy="125598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Symbol" panose="05050102010706020507" pitchFamily="18" charset="2"/>
              <a:buChar char=""/>
            </a:pPr>
            <a:r>
              <a:rPr lang="en-US" sz="1800" dirty="0">
                <a:solidFill>
                  <a:srgbClr val="0070C0"/>
                </a:solidFill>
                <a:effectLst/>
                <a:latin typeface="Segoe UI" panose="020B0502040204020203" pitchFamily="34" charset="0"/>
                <a:ea typeface="Segoe UI" panose="020B0502040204020203" pitchFamily="34" charset="0"/>
              </a:rPr>
              <a:t>Entitlements: Dataverse database (1 GB) and file (1 GB) capacity entitlements are applied to each environment with pay-as-you-go billing enabled and are not granted for each monthly active user. </a:t>
            </a:r>
          </a:p>
        </p:txBody>
      </p:sp>
      <p:sp>
        <p:nvSpPr>
          <p:cNvPr id="14" name="TextBox 69">
            <a:extLst>
              <a:ext uri="{FF2B5EF4-FFF2-40B4-BE49-F238E27FC236}">
                <a16:creationId xmlns:a16="http://schemas.microsoft.com/office/drawing/2014/main" id="{80415B73-4666-4931-95D8-7309CE00A288}"/>
              </a:ext>
            </a:extLst>
          </p:cNvPr>
          <p:cNvSpPr txBox="1"/>
          <p:nvPr/>
        </p:nvSpPr>
        <p:spPr>
          <a:xfrm>
            <a:off x="4866874" y="2633426"/>
            <a:ext cx="6481010" cy="185114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Symbol" panose="05050102010706020507" pitchFamily="18" charset="2"/>
              <a:buChar char=""/>
            </a:pPr>
            <a:r>
              <a:rPr lang="en-US" dirty="0" err="1">
                <a:solidFill>
                  <a:srgbClr val="0070C0"/>
                </a:solidFill>
                <a:effectLst/>
                <a:latin typeface="Segoe UI" panose="020B0502040204020203" pitchFamily="34" charset="0"/>
                <a:ea typeface="Segoe UI" panose="020B0502040204020203" pitchFamily="34" charset="0"/>
              </a:rPr>
              <a:t>Dataverse</a:t>
            </a:r>
            <a:r>
              <a:rPr lang="en-US" dirty="0">
                <a:solidFill>
                  <a:srgbClr val="0070C0"/>
                </a:solidFill>
                <a:effectLst/>
                <a:latin typeface="Segoe UI" panose="020B0502040204020203" pitchFamily="34" charset="0"/>
                <a:ea typeface="Segoe UI" panose="020B0502040204020203" pitchFamily="34" charset="0"/>
              </a:rPr>
              <a:t> capacity add-on meters: </a:t>
            </a:r>
          </a:p>
          <a:p>
            <a:pPr marL="742950" marR="0" lvl="1" indent="-285750">
              <a:lnSpc>
                <a:spcPct val="107000"/>
              </a:lnSpc>
              <a:spcBef>
                <a:spcPts val="0"/>
              </a:spcBef>
              <a:spcAft>
                <a:spcPts val="0"/>
              </a:spcAft>
              <a:buFont typeface="Courier New" panose="02070309020205020404" pitchFamily="49" charset="0"/>
              <a:buChar char="o"/>
            </a:pPr>
            <a:r>
              <a:rPr lang="en-US" dirty="0" err="1">
                <a:solidFill>
                  <a:srgbClr val="0070C0"/>
                </a:solidFill>
                <a:effectLst/>
                <a:latin typeface="Segoe UI" panose="020B0502040204020203" pitchFamily="34" charset="0"/>
                <a:ea typeface="Segoe UI" panose="020B0502040204020203" pitchFamily="34" charset="0"/>
              </a:rPr>
              <a:t>Dataverse</a:t>
            </a:r>
            <a:r>
              <a:rPr lang="en-US" dirty="0">
                <a:solidFill>
                  <a:srgbClr val="0070C0"/>
                </a:solidFill>
                <a:effectLst/>
                <a:latin typeface="Segoe UI" panose="020B0502040204020203" pitchFamily="34" charset="0"/>
                <a:ea typeface="Segoe UI" panose="020B0502040204020203" pitchFamily="34" charset="0"/>
              </a:rPr>
              <a:t> Database capacity – $48 per GB/month</a:t>
            </a:r>
          </a:p>
          <a:p>
            <a:pPr marL="742950" marR="0" lvl="1" indent="-285750">
              <a:lnSpc>
                <a:spcPct val="107000"/>
              </a:lnSpc>
              <a:spcBef>
                <a:spcPts val="0"/>
              </a:spcBef>
              <a:spcAft>
                <a:spcPts val="0"/>
              </a:spcAft>
              <a:buFont typeface="Courier New" panose="02070309020205020404" pitchFamily="49" charset="0"/>
              <a:buChar char="o"/>
            </a:pPr>
            <a:r>
              <a:rPr lang="en-US" dirty="0" err="1">
                <a:solidFill>
                  <a:srgbClr val="0070C0"/>
                </a:solidFill>
                <a:effectLst/>
                <a:latin typeface="Segoe UI" panose="020B0502040204020203" pitchFamily="34" charset="0"/>
                <a:ea typeface="Segoe UI" panose="020B0502040204020203" pitchFamily="34" charset="0"/>
              </a:rPr>
              <a:t>Dataverse</a:t>
            </a:r>
            <a:r>
              <a:rPr lang="en-US" dirty="0">
                <a:solidFill>
                  <a:srgbClr val="0070C0"/>
                </a:solidFill>
                <a:effectLst/>
                <a:latin typeface="Segoe UI" panose="020B0502040204020203" pitchFamily="34" charset="0"/>
                <a:ea typeface="Segoe UI" panose="020B0502040204020203" pitchFamily="34" charset="0"/>
              </a:rPr>
              <a:t> File capacity – $2.40 per GB/month</a:t>
            </a:r>
          </a:p>
          <a:p>
            <a:pPr marL="742950" marR="0" lvl="1" indent="-285750">
              <a:lnSpc>
                <a:spcPct val="107000"/>
              </a:lnSpc>
              <a:spcBef>
                <a:spcPts val="0"/>
              </a:spcBef>
              <a:spcAft>
                <a:spcPts val="0"/>
              </a:spcAft>
              <a:buFont typeface="Courier New" panose="02070309020205020404" pitchFamily="49" charset="0"/>
              <a:buChar char="o"/>
            </a:pPr>
            <a:r>
              <a:rPr lang="en-US" dirty="0" err="1">
                <a:solidFill>
                  <a:srgbClr val="0070C0"/>
                </a:solidFill>
                <a:effectLst/>
                <a:latin typeface="Segoe UI" panose="020B0502040204020203" pitchFamily="34" charset="0"/>
                <a:ea typeface="Segoe UI" panose="020B0502040204020203" pitchFamily="34" charset="0"/>
              </a:rPr>
              <a:t>Dataverse</a:t>
            </a:r>
            <a:r>
              <a:rPr lang="en-US" dirty="0">
                <a:solidFill>
                  <a:srgbClr val="0070C0"/>
                </a:solidFill>
                <a:effectLst/>
                <a:latin typeface="Segoe UI" panose="020B0502040204020203" pitchFamily="34" charset="0"/>
                <a:ea typeface="Segoe UI" panose="020B0502040204020203" pitchFamily="34" charset="0"/>
              </a:rPr>
              <a:t> Log capacity – $12 per GB/month  </a:t>
            </a:r>
          </a:p>
          <a:p>
            <a:pPr marL="342900" marR="0" lvl="0" indent="-342900">
              <a:lnSpc>
                <a:spcPct val="107000"/>
              </a:lnSpc>
              <a:spcBef>
                <a:spcPts val="0"/>
              </a:spcBef>
              <a:spcAft>
                <a:spcPts val="0"/>
              </a:spcAft>
              <a:buFont typeface="Symbol" panose="05050102010706020507" pitchFamily="18" charset="2"/>
              <a:buChar char=""/>
            </a:pPr>
            <a:endParaRPr lang="en-US" dirty="0">
              <a:solidFill>
                <a:srgbClr val="0070C0"/>
              </a:solidFill>
              <a:effectLst/>
              <a:latin typeface="Segoe UI" panose="020B0502040204020203" pitchFamily="34" charset="0"/>
              <a:ea typeface="Segoe UI" panose="020B0502040204020203" pitchFamily="34" charset="0"/>
            </a:endParaRPr>
          </a:p>
          <a:p>
            <a:pPr marL="466090" lvl="1">
              <a:spcAft>
                <a:spcPts val="115"/>
              </a:spcAft>
            </a:pPr>
            <a:endParaRPr lang="en-US" dirty="0">
              <a:solidFill>
                <a:srgbClr val="0070C0"/>
              </a:solidFill>
              <a:effectLst/>
              <a:latin typeface="Segoe UI" panose="020B0502040204020203" pitchFamily="34" charset="0"/>
              <a:ea typeface="Segoe UI" panose="020B0502040204020203" pitchFamily="34" charset="0"/>
            </a:endParaRPr>
          </a:p>
        </p:txBody>
      </p:sp>
    </p:spTree>
    <p:custDataLst>
      <p:tags r:id="rId1"/>
    </p:custDataLst>
    <p:extLst>
      <p:ext uri="{BB962C8B-B14F-4D97-AF65-F5344CB8AC3E}">
        <p14:creationId xmlns:p14="http://schemas.microsoft.com/office/powerpoint/2010/main" val="799258524"/>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Power Apps for Office 365 (seeded license)</a:t>
            </a:r>
          </a:p>
        </p:txBody>
      </p:sp>
      <p:graphicFrame>
        <p:nvGraphicFramePr>
          <p:cNvPr id="7" name="Table 6">
            <a:extLst>
              <a:ext uri="{FF2B5EF4-FFF2-40B4-BE49-F238E27FC236}">
                <a16:creationId xmlns:a16="http://schemas.microsoft.com/office/drawing/2014/main" id="{B86FF105-BA85-44C0-9937-E1C3BE12CF8F}"/>
              </a:ext>
            </a:extLst>
          </p:cNvPr>
          <p:cNvGraphicFramePr>
            <a:graphicFrameLocks noGrp="1"/>
          </p:cNvGraphicFramePr>
          <p:nvPr>
            <p:extLst>
              <p:ext uri="{D42A27DB-BD31-4B8C-83A1-F6EECF244321}">
                <p14:modId xmlns:p14="http://schemas.microsoft.com/office/powerpoint/2010/main" val="2548648302"/>
              </p:ext>
            </p:extLst>
          </p:nvPr>
        </p:nvGraphicFramePr>
        <p:xfrm>
          <a:off x="586740" y="1214095"/>
          <a:ext cx="11018519" cy="641071"/>
        </p:xfrm>
        <a:graphic>
          <a:graphicData uri="http://schemas.openxmlformats.org/drawingml/2006/table">
            <a:tbl>
              <a:tblPr firstRow="1">
                <a:effectLst/>
              </a:tblPr>
              <a:tblGrid>
                <a:gridCol w="8175764">
                  <a:extLst>
                    <a:ext uri="{9D8B030D-6E8A-4147-A177-3AD203B41FA5}">
                      <a16:colId xmlns:a16="http://schemas.microsoft.com/office/drawing/2014/main" val="1807449127"/>
                    </a:ext>
                  </a:extLst>
                </a:gridCol>
                <a:gridCol w="2842755">
                  <a:extLst>
                    <a:ext uri="{9D8B030D-6E8A-4147-A177-3AD203B41FA5}">
                      <a16:colId xmlns:a16="http://schemas.microsoft.com/office/drawing/2014/main" val="3639684717"/>
                    </a:ext>
                  </a:extLst>
                </a:gridCol>
              </a:tblGrid>
              <a:tr h="641071">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l" defTabSz="932742" rtl="0" eaLnBrk="1" latinLnBrk="0" hangingPunct="1"/>
                      <a:r>
                        <a:rPr lang="en-US" sz="1800" b="0" kern="1200">
                          <a:latin typeface="Segoe UI Semibold"/>
                          <a:cs typeface="Segoe UI Semibold"/>
                        </a:rPr>
                        <a:t>Plans and capabilities</a:t>
                      </a:r>
                      <a:endParaRPr lang="en-US" sz="1800" b="0" kern="1200">
                        <a:solidFill>
                          <a:schemeClr val="tx1"/>
                        </a:solidFill>
                        <a:latin typeface="Segoe UI Semibold"/>
                        <a:ea typeface="+mn-ea"/>
                        <a:cs typeface="Segoe UI Semibold"/>
                      </a:endParaRPr>
                    </a:p>
                  </a:txBody>
                  <a:tcPr marL="93247" marR="93247"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lang="en-US" sz="1600" b="0" kern="1200" dirty="0">
                          <a:latin typeface="Segoe UI Semibold"/>
                          <a:cs typeface="Segoe UI Semibold"/>
                        </a:rPr>
                        <a:t>Power Apps</a:t>
                      </a:r>
                      <a:br>
                        <a:rPr lang="en-US" sz="1600" b="0" kern="1200" dirty="0">
                          <a:latin typeface="Segoe UI Semibold"/>
                          <a:cs typeface="Segoe UI Semibold"/>
                        </a:rPr>
                      </a:br>
                      <a:r>
                        <a:rPr lang="en-US" sz="1600" b="0" kern="1200" dirty="0">
                          <a:latin typeface="Segoe UI Semibold"/>
                          <a:cs typeface="Segoe UI Semibold"/>
                        </a:rPr>
                        <a:t>for Office 365</a:t>
                      </a:r>
                    </a:p>
                  </a:txBody>
                  <a:tcPr marL="93247"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1627406336"/>
                  </a:ext>
                </a:extLst>
              </a:tr>
            </a:tbl>
          </a:graphicData>
        </a:graphic>
      </p:graphicFrame>
      <p:graphicFrame>
        <p:nvGraphicFramePr>
          <p:cNvPr id="9" name="Table 8">
            <a:extLst>
              <a:ext uri="{FF2B5EF4-FFF2-40B4-BE49-F238E27FC236}">
                <a16:creationId xmlns:a16="http://schemas.microsoft.com/office/drawing/2014/main" id="{287257CD-8C83-4EE2-B25A-DDAB288EC61E}"/>
              </a:ext>
            </a:extLst>
          </p:cNvPr>
          <p:cNvGraphicFramePr/>
          <p:nvPr>
            <p:extLst>
              <p:ext uri="{D42A27DB-BD31-4B8C-83A1-F6EECF244321}">
                <p14:modId xmlns:p14="http://schemas.microsoft.com/office/powerpoint/2010/main" val="3235192826"/>
              </p:ext>
            </p:extLst>
          </p:nvPr>
        </p:nvGraphicFramePr>
        <p:xfrm>
          <a:off x="586740" y="1883094"/>
          <a:ext cx="11018517" cy="3760814"/>
        </p:xfrm>
        <a:graphic>
          <a:graphicData uri="http://schemas.openxmlformats.org/drawingml/2006/table">
            <a:tbl>
              <a:tblPr firstRow="1"/>
              <a:tblGrid>
                <a:gridCol w="2352887">
                  <a:extLst>
                    <a:ext uri="{9D8B030D-6E8A-4147-A177-3AD203B41FA5}">
                      <a16:colId xmlns:a16="http://schemas.microsoft.com/office/drawing/2014/main" val="2276665027"/>
                    </a:ext>
                  </a:extLst>
                </a:gridCol>
                <a:gridCol w="5825066">
                  <a:extLst>
                    <a:ext uri="{9D8B030D-6E8A-4147-A177-3AD203B41FA5}">
                      <a16:colId xmlns:a16="http://schemas.microsoft.com/office/drawing/2014/main" val="3668467185"/>
                    </a:ext>
                  </a:extLst>
                </a:gridCol>
                <a:gridCol w="2840564">
                  <a:extLst>
                    <a:ext uri="{9D8B030D-6E8A-4147-A177-3AD203B41FA5}">
                      <a16:colId xmlns:a16="http://schemas.microsoft.com/office/drawing/2014/main" val="976533451"/>
                    </a:ext>
                  </a:extLst>
                </a:gridCol>
              </a:tblGrid>
              <a:tr h="238483">
                <a:tc rowSpan="3">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Run custom apps/portals</a:t>
                      </a:r>
                      <a:endParaRPr lang="en-US" sz="1300" b="1" i="0" u="none" strike="noStrike">
                        <a:solidFill>
                          <a:srgbClr val="002060"/>
                        </a:solidFill>
                        <a:effectLst/>
                        <a:latin typeface="+mn-lt"/>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none" strike="noStrike">
                          <a:solidFill>
                            <a:srgbClr val="4D4D4D"/>
                          </a:solidFill>
                          <a:effectLst/>
                          <a:latin typeface="+mn-lt"/>
                          <a:ea typeface="MS Mincho"/>
                          <a:cs typeface="Segoe UI"/>
                        </a:rPr>
                        <a:t>Run custom apps (canvas apps)</a:t>
                      </a:r>
                      <a:endParaRPr lang="en-US" sz="1300" b="0" i="0" u="none" strike="noStrike">
                        <a:effectLst/>
                        <a:latin typeface="+mn-lt"/>
                        <a:ea typeface="MS Mincho"/>
                        <a:cs typeface="Segoe UI"/>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dirty="0">
                          <a:solidFill>
                            <a:srgbClr val="000000"/>
                          </a:solidFill>
                          <a:effectLst/>
                          <a:latin typeface="+mn-lt"/>
                          <a:ea typeface="Times New Roman" panose="02020603050405020304" pitchFamily="18" charset="0"/>
                          <a:cs typeface="Segoe UI"/>
                        </a:rPr>
                        <a:t>Unlimited</a:t>
                      </a:r>
                      <a:endParaRPr lang="en-US" sz="1300" b="0" i="0" u="none" strike="noStrike" dirty="0">
                        <a:effectLst/>
                        <a:latin typeface="+mn-lt"/>
                        <a:cs typeface="Segoe UI"/>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3425117608"/>
                  </a:ext>
                </a:extLst>
              </a:tr>
              <a:tr h="238483">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a:solidFill>
                            <a:srgbClr val="4D4D4D"/>
                          </a:solidFill>
                          <a:effectLst/>
                          <a:latin typeface="+mn-lt"/>
                          <a:ea typeface="MS Mincho"/>
                          <a:cs typeface="Segoe UI"/>
                        </a:rPr>
                        <a:t>Run custom apps (model driven apps)</a:t>
                      </a:r>
                      <a:endParaRPr lang="en-US" sz="1300" b="0" i="0" u="none" strike="noStrike">
                        <a:effectLst/>
                        <a:latin typeface="+mn-lt"/>
                        <a:ea typeface="MS Mincho"/>
                        <a:cs typeface="Segoe UI"/>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dirty="0">
                          <a:solidFill>
                            <a:srgbClr val="243A5E"/>
                          </a:solidFill>
                          <a:effectLst/>
                          <a:latin typeface="+mn-lt"/>
                          <a:ea typeface="MS Mincho"/>
                          <a:cs typeface="Arial"/>
                        </a:rPr>
                        <a:t>-</a:t>
                      </a:r>
                      <a:endParaRPr lang="en-US" sz="1300" b="0" i="0" u="none" strike="noStrike" dirty="0">
                        <a:effectLst/>
                        <a:latin typeface="+mn-lt"/>
                        <a:ea typeface="MS Mincho"/>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774410128"/>
                  </a:ext>
                </a:extLst>
              </a:tr>
              <a:tr h="238483">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a:solidFill>
                            <a:srgbClr val="4D4D4D"/>
                          </a:solidFill>
                          <a:effectLst/>
                          <a:latin typeface="+mn-lt"/>
                          <a:ea typeface="MS Mincho"/>
                          <a:cs typeface="Segoe UI"/>
                        </a:rPr>
                        <a:t>Access custom portals</a:t>
                      </a:r>
                      <a:endParaRPr lang="en-US" sz="1300" b="0" i="0" u="none" strike="noStrike">
                        <a:effectLst/>
                        <a:latin typeface="+mn-lt"/>
                        <a:ea typeface="MS Mincho"/>
                        <a:cs typeface="Segoe UI"/>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a:solidFill>
                            <a:srgbClr val="243A5E"/>
                          </a:solidFill>
                          <a:effectLst/>
                          <a:latin typeface="+mn-lt"/>
                          <a:ea typeface="MS Mincho"/>
                          <a:cs typeface="Arial"/>
                        </a:rPr>
                        <a:t>-</a:t>
                      </a:r>
                      <a:endParaRPr lang="en-US" sz="1300" b="0" i="0" u="none" strike="noStrike">
                        <a:effectLst/>
                        <a:latin typeface="+mn-lt"/>
                        <a:ea typeface="MS Mincho"/>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1415145152"/>
                  </a:ext>
                </a:extLst>
              </a:tr>
              <a:tr h="303049">
                <a:tc rowSpan="3">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Connect to your data</a:t>
                      </a:r>
                      <a:endParaRPr lang="en-US" sz="1300" b="1" i="0" u="none" strike="noStrike">
                        <a:solidFill>
                          <a:srgbClr val="002060"/>
                        </a:solidFill>
                        <a:effectLst/>
                        <a:latin typeface="+mn-lt"/>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sng" strike="noStrike" kern="1200">
                          <a:solidFill>
                            <a:srgbClr val="0000FF"/>
                          </a:solidFill>
                          <a:effectLst/>
                          <a:latin typeface="+mn-lt"/>
                          <a:ea typeface="Times New Roman" panose="02020603050405020304" pitchFamily="18" charset="0"/>
                          <a:cs typeface="Segoe UI"/>
                          <a:hlinkClick r:id="rId4"/>
                        </a:rPr>
                        <a:t>Standard connectors</a:t>
                      </a:r>
                      <a:endParaRPr lang="en-US" sz="1300" b="0" i="0" u="none" strike="noStrike">
                        <a:effectLst/>
                        <a:latin typeface="+mn-lt"/>
                        <a:cs typeface="Segoe UI"/>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sym typeface="Wingdings" panose="05000000000000000000" pitchFamily="2" charset="2"/>
                        </a:rPr>
                        <a:t></a:t>
                      </a:r>
                      <a:endParaRPr kumimoji="0" lang="en-US" sz="1400" b="0" i="0" u="none" strike="noStrike" kern="1200" cap="none" spc="0" normalizeH="0" baseline="0" noProof="0" dirty="0">
                        <a:ln>
                          <a:noFill/>
                        </a:ln>
                        <a:solidFill>
                          <a:srgbClr val="008272"/>
                        </a:solidFill>
                        <a:effectLst/>
                        <a:uLnTx/>
                        <a:uFillTx/>
                        <a:latin typeface="+mn-lt"/>
                        <a:ea typeface="+mn-ea"/>
                        <a:cs typeface="+mn-cs"/>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2034470163"/>
                  </a:ext>
                </a:extLst>
              </a:tr>
              <a:tr h="238483">
                <a:tc vMerge="1">
                  <a:txBody>
                    <a:bodyPr/>
                    <a:lstStyle/>
                    <a:p>
                      <a:endParaRPr lang="en-US"/>
                    </a:p>
                  </a:txBody>
                  <a:tcPr/>
                </a:tc>
                <a:tc>
                  <a:txBody>
                    <a:bodyPr/>
                    <a:lstStyle/>
                    <a:p>
                      <a:pPr marL="0" marR="0" algn="l" fontAlgn="ctr">
                        <a:lnSpc>
                          <a:spcPts val="1000"/>
                        </a:lnSpc>
                        <a:spcBef>
                          <a:spcPts val="0"/>
                        </a:spcBef>
                        <a:spcAft>
                          <a:spcPts val="0"/>
                        </a:spcAft>
                      </a:pPr>
                      <a:r>
                        <a:rPr lang="en-US" sz="1300" b="0" i="0" u="sng" strike="noStrike" kern="1200">
                          <a:solidFill>
                            <a:srgbClr val="0000FF"/>
                          </a:solidFill>
                          <a:effectLst/>
                          <a:latin typeface="+mn-lt"/>
                          <a:ea typeface="Times New Roman" panose="02020603050405020304" pitchFamily="18" charset="0"/>
                          <a:cs typeface="Segoe UI" panose="020B0502040204020203" pitchFamily="34" charset="0"/>
                          <a:hlinkClick r:id="rId5"/>
                        </a:rPr>
                        <a:t>Premium and custom connectors</a:t>
                      </a:r>
                      <a:r>
                        <a:rPr lang="en-US" sz="1300" b="0" i="0" u="none" strike="noStrike" baseline="30000">
                          <a:solidFill>
                            <a:srgbClr val="4D4D4D"/>
                          </a:solidFill>
                          <a:effectLst/>
                          <a:latin typeface="+mn-lt"/>
                          <a:ea typeface="MS Mincho" panose="02020609040205080304" pitchFamily="49" charset="-128"/>
                          <a:cs typeface="Segoe UI" panose="020B0502040204020203" pitchFamily="34" charset="0"/>
                        </a:rPr>
                        <a:t>1</a:t>
                      </a:r>
                      <a:endParaRPr lang="en-US" sz="1300" b="0" i="0" u="none" strike="noStrike">
                        <a:effectLst/>
                        <a:latin typeface="+mn-lt"/>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t">
                        <a:lnSpc>
                          <a:spcPts val="1000"/>
                        </a:lnSpc>
                        <a:spcBef>
                          <a:spcPts val="0"/>
                        </a:spcBef>
                        <a:spcAft>
                          <a:spcPts val="0"/>
                        </a:spcAft>
                      </a:pPr>
                      <a:r>
                        <a:rPr lang="en-US" sz="1300" b="0" i="0" u="none" strike="noStrike" dirty="0">
                          <a:solidFill>
                            <a:srgbClr val="243A5E"/>
                          </a:solidFill>
                          <a:effectLst/>
                          <a:latin typeface="+mn-lt"/>
                          <a:ea typeface="MS Mincho"/>
                          <a:cs typeface="Arial"/>
                        </a:rPr>
                        <a:t>-</a:t>
                      </a:r>
                      <a:endParaRPr lang="en-US" sz="1300" b="0" i="0" u="none" strike="noStrike" dirty="0">
                        <a:effectLst/>
                        <a:latin typeface="+mn-lt"/>
                        <a:ea typeface="MS Mincho"/>
                        <a:cs typeface="Arial"/>
                      </a:endParaRPr>
                    </a:p>
                  </a:txBody>
                  <a:tcPr marL="24518" marR="16536" marT="7983" marB="7983">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1965288246"/>
                  </a:ext>
                </a:extLst>
              </a:tr>
              <a:tr h="238483">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a:solidFill>
                            <a:srgbClr val="4D4D4D"/>
                          </a:solidFill>
                          <a:effectLst/>
                          <a:latin typeface="+mn-lt"/>
                          <a:ea typeface="MS Mincho"/>
                          <a:cs typeface="Segoe UI"/>
                        </a:rPr>
                        <a:t>On premise data gateway</a:t>
                      </a:r>
                      <a:endParaRPr lang="en-US" sz="1300" b="0" i="0" u="none" strike="noStrike">
                        <a:effectLst/>
                        <a:latin typeface="+mn-lt"/>
                        <a:ea typeface="MS Mincho"/>
                        <a:cs typeface="Segoe UI"/>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t">
                        <a:lnSpc>
                          <a:spcPts val="1000"/>
                        </a:lnSpc>
                        <a:spcBef>
                          <a:spcPts val="0"/>
                        </a:spcBef>
                        <a:spcAft>
                          <a:spcPts val="0"/>
                        </a:spcAft>
                      </a:pPr>
                      <a:r>
                        <a:rPr lang="en-US" sz="1300" b="0" i="0" u="none" strike="noStrike" dirty="0">
                          <a:solidFill>
                            <a:srgbClr val="243A5E"/>
                          </a:solidFill>
                          <a:effectLst/>
                          <a:latin typeface="+mn-lt"/>
                          <a:ea typeface="MS Mincho"/>
                          <a:cs typeface="Arial"/>
                        </a:rPr>
                        <a:t>-</a:t>
                      </a:r>
                      <a:endParaRPr lang="en-US" sz="1300" b="0" i="0" u="none" strike="noStrike" dirty="0">
                        <a:effectLst/>
                        <a:latin typeface="+mn-lt"/>
                        <a:ea typeface="MS Mincho"/>
                        <a:cs typeface="Arial"/>
                      </a:endParaRPr>
                    </a:p>
                  </a:txBody>
                  <a:tcPr marL="24518" marR="16536" marT="7983" marB="7983">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3238063792"/>
                  </a:ext>
                </a:extLst>
              </a:tr>
              <a:tr h="522254">
                <a:tc rowSpan="3">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Store and manage data</a:t>
                      </a:r>
                      <a:endParaRPr lang="en-US" sz="1300" b="1" i="0" u="none" strike="noStrike">
                        <a:solidFill>
                          <a:srgbClr val="002060"/>
                        </a:solidFill>
                        <a:effectLst/>
                        <a:latin typeface="+mn-lt"/>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300"/>
                        </a:spcBef>
                        <a:spcAft>
                          <a:spcPts val="300"/>
                        </a:spcAft>
                      </a:pPr>
                      <a:r>
                        <a:rPr lang="en-US" sz="1300" b="0" i="0" u="none" strike="noStrike" dirty="0">
                          <a:solidFill>
                            <a:schemeClr val="tx1"/>
                          </a:solidFill>
                          <a:effectLst/>
                          <a:latin typeface="+mn-lt"/>
                          <a:ea typeface="MS Mincho"/>
                          <a:cs typeface="Segoe UI"/>
                        </a:rPr>
                        <a:t>Utilize </a:t>
                      </a:r>
                      <a:r>
                        <a:rPr lang="en-US" sz="1300" b="0" i="0" u="none" strike="noStrike" dirty="0" err="1">
                          <a:solidFill>
                            <a:schemeClr val="tx1"/>
                          </a:solidFill>
                          <a:effectLst/>
                          <a:latin typeface="+mn-lt"/>
                          <a:ea typeface="MS Mincho"/>
                          <a:cs typeface="Segoe UI"/>
                        </a:rPr>
                        <a:t>Dataverse</a:t>
                      </a:r>
                      <a:r>
                        <a:rPr lang="en-US" sz="1300" b="0" i="0" u="none" strike="noStrike" dirty="0">
                          <a:solidFill>
                            <a:schemeClr val="tx1"/>
                          </a:solidFill>
                          <a:effectLst/>
                          <a:latin typeface="+mn-lt"/>
                          <a:ea typeface="MS Mincho"/>
                          <a:cs typeface="Segoe UI"/>
                        </a:rPr>
                        <a:t> for Teams </a:t>
                      </a:r>
                      <a:endParaRPr lang="en-US" sz="1300" b="0" i="0" u="none" strike="noStrike" dirty="0">
                        <a:solidFill>
                          <a:schemeClr val="tx1"/>
                        </a:solidFill>
                        <a:effectLst/>
                        <a:latin typeface="+mn-lt"/>
                      </a:endParaRPr>
                    </a:p>
                    <a:p>
                      <a:pPr marL="0" marR="0" algn="l" fontAlgn="ctr">
                        <a:lnSpc>
                          <a:spcPts val="1000"/>
                        </a:lnSpc>
                        <a:spcBef>
                          <a:spcPts val="300"/>
                        </a:spcBef>
                        <a:spcAft>
                          <a:spcPts val="300"/>
                        </a:spcAft>
                      </a:pPr>
                      <a:r>
                        <a:rPr lang="en-US" sz="1300" b="0" i="0" u="none" strike="noStrike" dirty="0">
                          <a:solidFill>
                            <a:schemeClr val="tx1"/>
                          </a:solidFill>
                          <a:effectLst/>
                          <a:latin typeface="+mn-lt"/>
                          <a:ea typeface="MS Mincho" panose="02020609040205080304" pitchFamily="49" charset="-128"/>
                          <a:cs typeface="Segoe UI" panose="020B0502040204020203" pitchFamily="34" charset="0"/>
                        </a:rPr>
                        <a:t>(use for apps in Teams only)</a:t>
                      </a:r>
                      <a:endParaRPr lang="en-US" sz="1300" b="0" i="0" u="none" strike="noStrike" dirty="0">
                        <a:solidFill>
                          <a:schemeClr val="tx1"/>
                        </a:solidFill>
                        <a:effectLst/>
                        <a:latin typeface="+mn-lt"/>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dirty="0">
                          <a:solidFill>
                            <a:srgbClr val="243A5E"/>
                          </a:solidFill>
                          <a:effectLst/>
                          <a:latin typeface="+mn-lt"/>
                          <a:ea typeface="MS Mincho"/>
                          <a:cs typeface="Arial"/>
                        </a:rPr>
                        <a:t>Select O365 licenses</a:t>
                      </a:r>
                      <a:endParaRPr lang="en-US" sz="1300" b="0" i="0" u="none" strike="noStrike" dirty="0">
                        <a:effectLst/>
                        <a:latin typeface="+mn-lt"/>
                        <a:ea typeface="MS Mincho"/>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2942151644"/>
                  </a:ext>
                </a:extLst>
              </a:tr>
              <a:tr h="238483">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a:solidFill>
                            <a:schemeClr val="tx1"/>
                          </a:solidFill>
                          <a:effectLst/>
                          <a:latin typeface="+mn-lt"/>
                          <a:ea typeface="MS Mincho"/>
                          <a:cs typeface="Segoe UI"/>
                        </a:rPr>
                        <a:t>Utilize Dataverse (formerly Common Data Service)</a:t>
                      </a: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dirty="0">
                          <a:solidFill>
                            <a:srgbClr val="243A5E"/>
                          </a:solidFill>
                          <a:effectLst/>
                          <a:latin typeface="+mn-lt"/>
                          <a:ea typeface="MS Mincho"/>
                          <a:cs typeface="Arial"/>
                        </a:rPr>
                        <a:t>-</a:t>
                      </a:r>
                      <a:endParaRPr lang="en-US" sz="1300" b="0" i="0" u="none" strike="noStrike" dirty="0">
                        <a:effectLst/>
                        <a:latin typeface="+mn-lt"/>
                        <a:ea typeface="MS Mincho"/>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2434208301"/>
                  </a:ext>
                </a:extLst>
              </a:tr>
              <a:tr h="356983">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a:solidFill>
                            <a:schemeClr val="tx1"/>
                          </a:solidFill>
                          <a:effectLst/>
                          <a:latin typeface="+mn-lt"/>
                          <a:ea typeface="MS Mincho"/>
                          <a:cs typeface="Segoe UI"/>
                        </a:rPr>
                        <a:t>Create and access custom tables (includes complex tables)</a:t>
                      </a: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dirty="0">
                          <a:solidFill>
                            <a:srgbClr val="243A5E"/>
                          </a:solidFill>
                          <a:effectLst/>
                          <a:latin typeface="+mn-lt"/>
                          <a:ea typeface="MS Mincho"/>
                          <a:cs typeface="Arial"/>
                        </a:rPr>
                        <a:t>-</a:t>
                      </a:r>
                      <a:endParaRPr lang="en-US" sz="1300" b="0" i="0" u="none" strike="noStrike" dirty="0">
                        <a:effectLst/>
                        <a:latin typeface="+mn-lt"/>
                        <a:ea typeface="MS Mincho"/>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2809680462"/>
                  </a:ext>
                </a:extLst>
              </a:tr>
              <a:tr h="356983">
                <a:tc>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Execute flows</a:t>
                      </a:r>
                      <a:endParaRPr lang="en-US" sz="1300" b="1" i="0" u="none" strike="noStrike">
                        <a:solidFill>
                          <a:srgbClr val="002060"/>
                        </a:solidFill>
                        <a:effectLst/>
                        <a:latin typeface="+mn-lt"/>
                        <a:cs typeface="Arial"/>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none" strike="noStrike">
                          <a:solidFill>
                            <a:schemeClr val="tx1"/>
                          </a:solidFill>
                          <a:effectLst/>
                          <a:latin typeface="+mn-lt"/>
                          <a:ea typeface="MS Mincho"/>
                          <a:cs typeface="Segoe UI"/>
                        </a:rPr>
                        <a:t>Power Automate use rights (See Power Automate with Office 365 section)</a:t>
                      </a: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sym typeface="Wingdings" panose="05000000000000000000" pitchFamily="2" charset="2"/>
                        </a:rPr>
                        <a:t></a:t>
                      </a:r>
                      <a:endParaRPr kumimoji="0" lang="en-US" sz="1400" b="0" i="0" u="none" strike="noStrike" kern="1200" cap="none" spc="0" normalizeH="0" baseline="0" noProof="0" dirty="0">
                        <a:ln>
                          <a:noFill/>
                        </a:ln>
                        <a:solidFill>
                          <a:srgbClr val="008272"/>
                        </a:solidFill>
                        <a:effectLst/>
                        <a:uLnTx/>
                        <a:uFillTx/>
                        <a:latin typeface="+mn-lt"/>
                        <a:ea typeface="+mn-ea"/>
                        <a:cs typeface="+mn-cs"/>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1216952447"/>
                  </a:ext>
                </a:extLst>
              </a:tr>
              <a:tr h="238483">
                <a:tc rowSpan="3">
                  <a:txBody>
                    <a:bodyPr/>
                    <a:lstStyle/>
                    <a:p>
                      <a:pPr marL="0" marR="0" algn="l" fontAlgn="ctr">
                        <a:lnSpc>
                          <a:spcPts val="1000"/>
                        </a:lnSpc>
                        <a:spcBef>
                          <a:spcPts val="0"/>
                        </a:spcBef>
                        <a:spcAft>
                          <a:spcPts val="300"/>
                        </a:spcAft>
                      </a:pPr>
                      <a:r>
                        <a:rPr lang="en-US" sz="1300" b="1" i="0" u="none" strike="noStrike" kern="1200">
                          <a:solidFill>
                            <a:srgbClr val="002060"/>
                          </a:solidFill>
                          <a:effectLst/>
                          <a:latin typeface="+mn-lt"/>
                          <a:ea typeface="Times New Roman" panose="02020603050405020304" pitchFamily="18" charset="0"/>
                          <a:cs typeface="Arial" panose="020B0604020202020204" pitchFamily="34" charset="0"/>
                        </a:rPr>
                        <a:t>Per license capacity</a:t>
                      </a: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none" strike="noStrike" dirty="0" err="1">
                          <a:solidFill>
                            <a:schemeClr val="tx1"/>
                          </a:solidFill>
                          <a:effectLst/>
                          <a:latin typeface="+mn-lt"/>
                          <a:ea typeface="MS Mincho"/>
                          <a:cs typeface="Segoe UI"/>
                        </a:rPr>
                        <a:t>Dataverse</a:t>
                      </a:r>
                      <a:r>
                        <a:rPr lang="en-US" sz="1300" b="0" i="0" u="none" strike="noStrike" dirty="0">
                          <a:solidFill>
                            <a:schemeClr val="tx1"/>
                          </a:solidFill>
                          <a:effectLst/>
                          <a:latin typeface="+mn-lt"/>
                          <a:ea typeface="MS Mincho"/>
                          <a:cs typeface="Segoe UI"/>
                        </a:rPr>
                        <a:t> Database Capacity</a:t>
                      </a: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t">
                        <a:lnSpc>
                          <a:spcPts val="1000"/>
                        </a:lnSpc>
                        <a:spcBef>
                          <a:spcPts val="0"/>
                        </a:spcBef>
                        <a:spcAft>
                          <a:spcPts val="0"/>
                        </a:spcAft>
                      </a:pPr>
                      <a:r>
                        <a:rPr lang="en-US" sz="1300" b="0" i="0" u="none" strike="noStrike" dirty="0">
                          <a:solidFill>
                            <a:srgbClr val="243A5E"/>
                          </a:solidFill>
                          <a:effectLst/>
                          <a:latin typeface="+mn-lt"/>
                          <a:ea typeface="MS Mincho"/>
                          <a:cs typeface="Arial"/>
                        </a:rPr>
                        <a:t>-</a:t>
                      </a:r>
                      <a:endParaRPr lang="en-US" sz="1300" b="0" i="0" u="none" strike="noStrike" dirty="0">
                        <a:effectLst/>
                        <a:latin typeface="+mn-lt"/>
                        <a:ea typeface="MS Mincho"/>
                        <a:cs typeface="Arial"/>
                      </a:endParaRPr>
                    </a:p>
                  </a:txBody>
                  <a:tcPr marL="24518" marR="16536" marT="7983" marB="7983">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100168563"/>
                  </a:ext>
                </a:extLst>
              </a:tr>
              <a:tr h="238483">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dirty="0" err="1">
                          <a:solidFill>
                            <a:schemeClr val="tx1"/>
                          </a:solidFill>
                          <a:effectLst/>
                          <a:latin typeface="+mn-lt"/>
                          <a:ea typeface="MS Mincho"/>
                          <a:cs typeface="Segoe UI"/>
                        </a:rPr>
                        <a:t>Dataverse</a:t>
                      </a:r>
                      <a:r>
                        <a:rPr lang="en-US" sz="1300" b="0" i="0" u="none" strike="noStrike" dirty="0">
                          <a:solidFill>
                            <a:schemeClr val="tx1"/>
                          </a:solidFill>
                          <a:effectLst/>
                          <a:latin typeface="+mn-lt"/>
                          <a:ea typeface="MS Mincho"/>
                          <a:cs typeface="Segoe UI"/>
                        </a:rPr>
                        <a:t> File Capacity</a:t>
                      </a: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t">
                        <a:lnSpc>
                          <a:spcPts val="1000"/>
                        </a:lnSpc>
                        <a:spcBef>
                          <a:spcPts val="0"/>
                        </a:spcBef>
                        <a:spcAft>
                          <a:spcPts val="0"/>
                        </a:spcAft>
                      </a:pPr>
                      <a:r>
                        <a:rPr lang="en-US" sz="1300" b="0" i="0" u="none" strike="noStrike" dirty="0">
                          <a:solidFill>
                            <a:srgbClr val="243A5E"/>
                          </a:solidFill>
                          <a:effectLst/>
                          <a:latin typeface="+mn-lt"/>
                          <a:ea typeface="MS Mincho"/>
                          <a:cs typeface="Arial"/>
                        </a:rPr>
                        <a:t>-</a:t>
                      </a:r>
                      <a:endParaRPr lang="en-US" sz="1300" b="0" i="0" u="none" strike="noStrike" dirty="0">
                        <a:effectLst/>
                        <a:latin typeface="+mn-lt"/>
                        <a:ea typeface="MS Mincho"/>
                        <a:cs typeface="Arial"/>
                      </a:endParaRPr>
                    </a:p>
                  </a:txBody>
                  <a:tcPr marL="24518" marR="16536" marT="7983" marB="7983">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3363695561"/>
                  </a:ext>
                </a:extLst>
              </a:tr>
              <a:tr h="313681">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dirty="0">
                          <a:solidFill>
                            <a:schemeClr val="tx1"/>
                          </a:solidFill>
                          <a:effectLst/>
                          <a:latin typeface="+mn-lt"/>
                          <a:ea typeface="MS Mincho"/>
                          <a:cs typeface="Segoe UI"/>
                        </a:rPr>
                        <a:t>Daily Power Platform requests</a:t>
                      </a:r>
                      <a:r>
                        <a:rPr lang="en-US" sz="1300" b="0" i="0" u="none" strike="noStrike" baseline="30000" dirty="0">
                          <a:solidFill>
                            <a:schemeClr val="tx1"/>
                          </a:solidFill>
                          <a:effectLst/>
                          <a:latin typeface="+mn-lt"/>
                          <a:ea typeface="MS Mincho"/>
                          <a:cs typeface="Segoe UI"/>
                        </a:rPr>
                        <a:t>1</a:t>
                      </a:r>
                      <a:endParaRPr lang="en-US" sz="1300" b="0" i="0" u="none" strike="noStrike" dirty="0">
                        <a:solidFill>
                          <a:schemeClr val="tx1"/>
                        </a:solidFill>
                        <a:effectLst/>
                        <a:latin typeface="+mn-lt"/>
                        <a:ea typeface="MS Mincho"/>
                        <a:cs typeface="Segoe UI"/>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FI" sz="1300" b="0" i="0" u="none" strike="noStrike" kern="1200">
                          <a:solidFill>
                            <a:srgbClr val="243A5E"/>
                          </a:solidFill>
                          <a:effectLst/>
                          <a:latin typeface="+mn-lt"/>
                          <a:ea typeface="Times New Roman" panose="02020603050405020304" pitchFamily="18" charset="0"/>
                          <a:cs typeface="Segoe UI" panose="020B0502040204020203" pitchFamily="34" charset="0"/>
                        </a:rPr>
                        <a:t>6</a:t>
                      </a:r>
                      <a:r>
                        <a:rPr lang="en-US" sz="1300" b="0" i="0" u="none" strike="noStrike" kern="1200">
                          <a:solidFill>
                            <a:srgbClr val="243A5E"/>
                          </a:solidFill>
                          <a:effectLst/>
                          <a:latin typeface="+mn-lt"/>
                          <a:ea typeface="Times New Roman" panose="02020603050405020304" pitchFamily="18" charset="0"/>
                          <a:cs typeface="Segoe UI" panose="020B0502040204020203" pitchFamily="34" charset="0"/>
                        </a:rPr>
                        <a:t>,000</a:t>
                      </a:r>
                      <a:endParaRPr lang="en-US" sz="1300" b="0" i="0" u="none" strike="noStrike" dirty="0">
                        <a:effectLst/>
                        <a:latin typeface="+mn-lt"/>
                      </a:endParaRP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tcPr>
                </a:tc>
                <a:extLst>
                  <a:ext uri="{0D108BD9-81ED-4DB2-BD59-A6C34878D82A}">
                    <a16:rowId xmlns:a16="http://schemas.microsoft.com/office/drawing/2014/main" val="3034624839"/>
                  </a:ext>
                </a:extLst>
              </a:tr>
            </a:tbl>
          </a:graphicData>
        </a:graphic>
      </p:graphicFrame>
      <p:sp>
        <p:nvSpPr>
          <p:cNvPr id="2" name="TextBox 1">
            <a:extLst>
              <a:ext uri="{FF2B5EF4-FFF2-40B4-BE49-F238E27FC236}">
                <a16:creationId xmlns:a16="http://schemas.microsoft.com/office/drawing/2014/main" id="{1BD2D8FA-142B-43C8-908C-1CAD7A34C223}"/>
              </a:ext>
            </a:extLst>
          </p:cNvPr>
          <p:cNvSpPr txBox="1"/>
          <p:nvPr/>
        </p:nvSpPr>
        <p:spPr>
          <a:xfrm>
            <a:off x="84250" y="6417927"/>
            <a:ext cx="12414835" cy="240066"/>
          </a:xfrm>
          <a:prstGeom prst="rect">
            <a:avLst/>
          </a:prstGeom>
          <a:noFill/>
        </p:spPr>
        <p:txBody>
          <a:bodyPr wrap="square" lIns="91440" tIns="45720" rIns="91440" bIns="45720" anchor="t">
            <a:spAutoFit/>
          </a:bodyPr>
          <a:lstStyle/>
          <a:p>
            <a:pPr marL="64135" marR="0" indent="-64135">
              <a:lnSpc>
                <a:spcPct val="80000"/>
              </a:lnSpc>
              <a:spcBef>
                <a:spcPts val="0"/>
              </a:spcBef>
              <a:spcAft>
                <a:spcPts val="0"/>
              </a:spcAft>
            </a:pPr>
            <a:r>
              <a:rPr lang="en-US" sz="1200" baseline="30000" dirty="0">
                <a:solidFill>
                  <a:srgbClr val="4D4D4D"/>
                </a:solidFill>
                <a:latin typeface="Segoe UI"/>
                <a:ea typeface="MS Mincho"/>
                <a:cs typeface="Segoe UI"/>
              </a:rPr>
              <a:t>1</a:t>
            </a:r>
            <a:r>
              <a:rPr lang="en-US" sz="1200" dirty="0">
                <a:solidFill>
                  <a:srgbClr val="4D4D4D"/>
                </a:solidFill>
                <a:effectLst/>
                <a:latin typeface="Segoe UI"/>
                <a:ea typeface="MS Mincho"/>
                <a:cs typeface="Segoe UI"/>
              </a:rPr>
              <a:t> Reference </a:t>
            </a:r>
            <a:r>
              <a:rPr lang="en-US" sz="1200" u="sng" dirty="0">
                <a:solidFill>
                  <a:srgbClr val="4D4D4D"/>
                </a:solidFill>
                <a:effectLst/>
                <a:latin typeface="Segoe UI"/>
                <a:ea typeface="MS Mincho"/>
                <a:cs typeface="Segoe UI"/>
                <a:hlinkClick r:id="rId6"/>
              </a:rPr>
              <a:t>http://aka.ms/platformlimits</a:t>
            </a:r>
            <a:r>
              <a:rPr lang="en-US" sz="1200" dirty="0">
                <a:solidFill>
                  <a:srgbClr val="4D4D4D"/>
                </a:solidFill>
                <a:effectLst/>
                <a:latin typeface="Segoe UI"/>
                <a:ea typeface="MS Mincho"/>
                <a:cs typeface="Segoe UI"/>
              </a:rPr>
              <a:t> for more details on usage limits; “Power Apps and Power Automate capacity add-on” can be purchased to increase daily service limits.</a:t>
            </a:r>
          </a:p>
        </p:txBody>
      </p:sp>
    </p:spTree>
    <p:custDataLst>
      <p:tags r:id="rId1"/>
    </p:custDataLst>
    <p:extLst>
      <p:ext uri="{BB962C8B-B14F-4D97-AF65-F5344CB8AC3E}">
        <p14:creationId xmlns:p14="http://schemas.microsoft.com/office/powerpoint/2010/main" val="4224234064"/>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Power Automate standalone plans</a:t>
            </a:r>
          </a:p>
        </p:txBody>
      </p:sp>
      <p:graphicFrame>
        <p:nvGraphicFramePr>
          <p:cNvPr id="9" name="Table 8">
            <a:extLst>
              <a:ext uri="{FF2B5EF4-FFF2-40B4-BE49-F238E27FC236}">
                <a16:creationId xmlns:a16="http://schemas.microsoft.com/office/drawing/2014/main" id="{CE702611-002E-4410-A3DA-3E6E65A7D060}"/>
              </a:ext>
            </a:extLst>
          </p:cNvPr>
          <p:cNvGraphicFramePr>
            <a:graphicFrameLocks noGrp="1"/>
          </p:cNvGraphicFramePr>
          <p:nvPr>
            <p:extLst>
              <p:ext uri="{D42A27DB-BD31-4B8C-83A1-F6EECF244321}">
                <p14:modId xmlns:p14="http://schemas.microsoft.com/office/powerpoint/2010/main" val="2121461419"/>
              </p:ext>
            </p:extLst>
          </p:nvPr>
        </p:nvGraphicFramePr>
        <p:xfrm>
          <a:off x="537179" y="885211"/>
          <a:ext cx="11217398" cy="4657029"/>
        </p:xfrm>
        <a:graphic>
          <a:graphicData uri="http://schemas.openxmlformats.org/drawingml/2006/table">
            <a:tbl>
              <a:tblPr firstRow="1">
                <a:effectLst/>
              </a:tblPr>
              <a:tblGrid>
                <a:gridCol w="2017557">
                  <a:extLst>
                    <a:ext uri="{9D8B030D-6E8A-4147-A177-3AD203B41FA5}">
                      <a16:colId xmlns:a16="http://schemas.microsoft.com/office/drawing/2014/main" val="1807449127"/>
                    </a:ext>
                  </a:extLst>
                </a:gridCol>
                <a:gridCol w="3445682">
                  <a:extLst>
                    <a:ext uri="{9D8B030D-6E8A-4147-A177-3AD203B41FA5}">
                      <a16:colId xmlns:a16="http://schemas.microsoft.com/office/drawing/2014/main" val="731576719"/>
                    </a:ext>
                  </a:extLst>
                </a:gridCol>
                <a:gridCol w="1786859">
                  <a:extLst>
                    <a:ext uri="{9D8B030D-6E8A-4147-A177-3AD203B41FA5}">
                      <a16:colId xmlns:a16="http://schemas.microsoft.com/office/drawing/2014/main" val="3639684717"/>
                    </a:ext>
                  </a:extLst>
                </a:gridCol>
                <a:gridCol w="2015136">
                  <a:extLst>
                    <a:ext uri="{9D8B030D-6E8A-4147-A177-3AD203B41FA5}">
                      <a16:colId xmlns:a16="http://schemas.microsoft.com/office/drawing/2014/main" val="3618070505"/>
                    </a:ext>
                  </a:extLst>
                </a:gridCol>
                <a:gridCol w="1952164">
                  <a:extLst>
                    <a:ext uri="{9D8B030D-6E8A-4147-A177-3AD203B41FA5}">
                      <a16:colId xmlns:a16="http://schemas.microsoft.com/office/drawing/2014/main" val="880528590"/>
                    </a:ext>
                  </a:extLst>
                </a:gridCol>
              </a:tblGrid>
              <a:tr h="1023269">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l" defTabSz="932742" rtl="0" eaLnBrk="1" latinLnBrk="0" hangingPunct="1"/>
                      <a:r>
                        <a:rPr lang="en-US" sz="1800" b="0" kern="1200" dirty="0">
                          <a:latin typeface="Segoe UI Semibold"/>
                          <a:cs typeface="Segoe UI Semibold"/>
                        </a:rPr>
                        <a:t>Plans and capabilities</a:t>
                      </a:r>
                      <a:endParaRPr lang="en-US" sz="1800" b="0" kern="1200" dirty="0">
                        <a:solidFill>
                          <a:schemeClr val="tx1"/>
                        </a:solidFill>
                        <a:latin typeface="Segoe UI Semibold"/>
                        <a:ea typeface="+mn-ea"/>
                        <a:cs typeface="Segoe UI Semibold"/>
                      </a:endParaRPr>
                    </a:p>
                  </a:txBody>
                  <a:tcPr marL="93247" marR="93247"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pPr marL="0" algn="l" defTabSz="932742" rtl="0" eaLnBrk="1" latinLnBrk="0" hangingPunct="1"/>
                      <a:endParaRPr lang="en-US" sz="1400" b="0" kern="1200">
                        <a:solidFill>
                          <a:srgbClr val="742774"/>
                        </a:solidFill>
                        <a:latin typeface="+mj-lt"/>
                        <a:ea typeface="+mn-ea"/>
                        <a:cs typeface="+mn-cs"/>
                      </a:endParaRPr>
                    </a:p>
                  </a:txBody>
                  <a:tcPr marL="91427" marR="91427" marT="45713" marB="45713"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75757A"/>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742774"/>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lang="en-US" sz="1600" b="0" kern="1200" dirty="0">
                          <a:latin typeface="Segoe UI Semibold"/>
                          <a:cs typeface="Segoe UI Semibold"/>
                        </a:rPr>
                        <a:t>Per user plan</a:t>
                      </a:r>
                    </a:p>
                    <a:p>
                      <a:pPr marL="0" marR="0" lvl="0" indent="0" algn="ctr" defTabSz="932742" rtl="0" eaLnBrk="1" fontAlgn="auto" latinLnBrk="0" hangingPunct="1">
                        <a:lnSpc>
                          <a:spcPct val="100000"/>
                        </a:lnSpc>
                        <a:spcBef>
                          <a:spcPts val="1200"/>
                        </a:spcBef>
                        <a:spcAft>
                          <a:spcPts val="0"/>
                        </a:spcAft>
                        <a:buClrTx/>
                        <a:buSzTx/>
                        <a:buFontTx/>
                        <a:buNone/>
                        <a:tabLst/>
                        <a:defRPr/>
                      </a:pPr>
                      <a:r>
                        <a:rPr lang="en-US" sz="1600" b="0" kern="1200" baseline="30000" dirty="0">
                          <a:latin typeface="Segoe UI Semibold"/>
                          <a:cs typeface="Segoe UI Semibold"/>
                        </a:rPr>
                        <a:t>$15 per user/month</a:t>
                      </a:r>
                      <a:endParaRPr lang="en-US" sz="1600" b="0" kern="1200" baseline="30000" dirty="0">
                        <a:solidFill>
                          <a:schemeClr val="tx1"/>
                        </a:solidFill>
                        <a:latin typeface="Segoe UI Semibold"/>
                        <a:ea typeface="+mn-ea"/>
                        <a:cs typeface="Segoe UI Semibold"/>
                      </a:endParaRPr>
                    </a:p>
                  </a:txBody>
                  <a:tcPr marL="93247"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marL="0" algn="ctr" defTabSz="932742" rtl="0" eaLnBrk="1" latinLnBrk="0" hangingPunct="1">
                        <a:spcBef>
                          <a:spcPts val="600"/>
                        </a:spcBef>
                      </a:pPr>
                      <a:r>
                        <a:rPr lang="en-US" sz="1600" b="0" kern="1200" dirty="0">
                          <a:solidFill>
                            <a:schemeClr val="lt1"/>
                          </a:solidFill>
                          <a:latin typeface="Segoe UI Semibold"/>
                          <a:ea typeface="+mn-ea"/>
                          <a:cs typeface="Segoe UI Semibold"/>
                        </a:rPr>
                        <a:t>Per user with attended RPA plan</a:t>
                      </a:r>
                    </a:p>
                    <a:p>
                      <a:pPr marL="0" marR="0" lvl="0" indent="0" algn="ctr" defTabSz="932742" rtl="0" eaLnBrk="1" fontAlgn="auto" latinLnBrk="0" hangingPunct="1">
                        <a:lnSpc>
                          <a:spcPct val="100000"/>
                        </a:lnSpc>
                        <a:spcBef>
                          <a:spcPts val="1200"/>
                        </a:spcBef>
                        <a:spcAft>
                          <a:spcPts val="0"/>
                        </a:spcAft>
                        <a:buClrTx/>
                        <a:buSzTx/>
                        <a:buFontTx/>
                        <a:buNone/>
                        <a:tabLst/>
                        <a:defRPr/>
                      </a:pPr>
                      <a:r>
                        <a:rPr lang="en-US" sz="1600" b="0" kern="1200" baseline="30000" dirty="0">
                          <a:solidFill>
                            <a:schemeClr val="lt1"/>
                          </a:solidFill>
                          <a:latin typeface="Segoe UI Semibold"/>
                          <a:ea typeface="+mn-ea"/>
                          <a:cs typeface="Segoe UI Semibold"/>
                        </a:rPr>
                        <a:t>$40 per user/month</a:t>
                      </a:r>
                    </a:p>
                  </a:txBody>
                  <a:tcPr marL="93247"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lang="en-US" sz="1600" b="0" kern="1200" dirty="0">
                          <a:latin typeface="Segoe UI Semibold"/>
                          <a:cs typeface="Segoe UI Semibold"/>
                        </a:rPr>
                        <a:t>Per flow plan</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600" b="0" kern="1200" baseline="30000" dirty="0">
                          <a:latin typeface="Segoe UI Semibold"/>
                          <a:cs typeface="Segoe UI Semibold"/>
                        </a:rPr>
                        <a:t>$100 per flow/month</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600" b="0" kern="1200" baseline="30000" dirty="0">
                          <a:latin typeface="Segoe UI Semibold"/>
                          <a:cs typeface="Segoe UI Semibold"/>
                        </a:rPr>
                        <a:t>Min purchase of 5 flows</a:t>
                      </a: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1627406336"/>
                  </a:ext>
                </a:extLst>
              </a:tr>
              <a:tr h="245706">
                <a:tc rowSpan="5">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dirty="0">
                          <a:solidFill>
                            <a:srgbClr val="002060"/>
                          </a:solidFill>
                          <a:latin typeface="+mj-lt"/>
                        </a:rPr>
                        <a:t>Execute flows</a:t>
                      </a: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indent="53975" algn="l" defTabSz="932742" rtl="0" eaLnBrk="1" fontAlgn="ctr" latinLnBrk="0" hangingPunct="1">
                        <a:lnSpc>
                          <a:spcPts val="1000"/>
                        </a:lnSpc>
                        <a:spcBef>
                          <a:spcPts val="0"/>
                        </a:spcBef>
                        <a:spcAft>
                          <a:spcPts val="0"/>
                        </a:spcAft>
                      </a:pPr>
                      <a:r>
                        <a:rPr lang="en-US" sz="1100" b="0" kern="1200" dirty="0">
                          <a:solidFill>
                            <a:schemeClr val="tx1"/>
                          </a:solidFill>
                          <a:latin typeface="+mn-lt"/>
                          <a:ea typeface="+mn-ea"/>
                          <a:cs typeface="+mn-cs"/>
                        </a:rPr>
                        <a:t>Cloud flows (Automated, instant, and scheduled)</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kern="1200" dirty="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050" b="0" i="0" u="none" strike="noStrike" dirty="0">
                        <a:effectLst/>
                        <a:latin typeface="Wingdings"/>
                        <a:sym typeface="Wingdings"/>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kern="1200" dirty="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050" b="0" i="0" u="none" strike="noStrike" dirty="0">
                        <a:effectLst/>
                        <a:latin typeface="Wingdings"/>
                        <a:sym typeface="Wingdings"/>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kern="1200" dirty="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050" b="0" i="0" u="none" strike="noStrike" dirty="0">
                        <a:effectLst/>
                        <a:latin typeface="Wingdings"/>
                        <a:sym typeface="Wingdings"/>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41259492"/>
                  </a:ext>
                </a:extLst>
              </a:tr>
              <a:tr h="215888">
                <a:tc vMerge="1">
                  <a:txBody>
                    <a:bodyPr/>
                    <a:lstStyle/>
                    <a:p>
                      <a:pPr marL="0" algn="l" defTabSz="932742" rtl="0" eaLnBrk="1" latinLnBrk="0" hangingPunct="1"/>
                      <a:endParaRPr lang="en-US" sz="1300" b="1" i="0" u="none" kern="1200">
                        <a:solidFill>
                          <a:schemeClr val="bg1"/>
                        </a:solidFill>
                        <a:latin typeface="+mj-lt"/>
                        <a:ea typeface="+mn-ea"/>
                        <a:cs typeface="Segoe UI Semibold" panose="020B0702040204020203" pitchFamily="34" charset="0"/>
                      </a:endParaRPr>
                    </a:p>
                  </a:txBody>
                  <a:tcPr marL="93247" marR="93247" marT="0" marB="0" anchor="ctr">
                    <a:lnR w="19050" cap="flat" cmpd="sng" algn="ctr">
                      <a:noFill/>
                      <a:prstDash val="solid"/>
                      <a:round/>
                      <a:headEnd type="none" w="med" len="med"/>
                      <a:tailEnd type="none" w="med" len="med"/>
                    </a:lnR>
                    <a:solidFill>
                      <a:srgbClr val="737373"/>
                    </a:solidFill>
                  </a:tcPr>
                </a:tc>
                <a:tc>
                  <a:txBody>
                    <a:bodyPr/>
                    <a:lstStyle/>
                    <a:p>
                      <a:pPr marL="0" marR="0" indent="53975" algn="l" defTabSz="932742" rtl="0" eaLnBrk="1" fontAlgn="ctr" latinLnBrk="0" hangingPunct="1">
                        <a:lnSpc>
                          <a:spcPts val="1000"/>
                        </a:lnSpc>
                        <a:spcBef>
                          <a:spcPts val="0"/>
                        </a:spcBef>
                        <a:spcAft>
                          <a:spcPts val="0"/>
                        </a:spcAft>
                      </a:pPr>
                      <a:r>
                        <a:rPr lang="en-US" sz="1100" b="0" kern="1200" dirty="0">
                          <a:solidFill>
                            <a:schemeClr val="tx1"/>
                          </a:solidFill>
                          <a:latin typeface="+mn-lt"/>
                          <a:ea typeface="+mn-ea"/>
                          <a:cs typeface="+mn-cs"/>
                        </a:rPr>
                        <a:t>Business process flows</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kern="120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050" b="0" i="0" u="none" strike="noStrike">
                        <a:effectLst/>
                        <a:latin typeface="Wingdings"/>
                        <a:sym typeface="Wingdings"/>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kern="1200" dirty="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050" b="0" i="0" u="none" strike="noStrike" dirty="0">
                        <a:effectLst/>
                        <a:latin typeface="Wingdings"/>
                        <a:sym typeface="Wingdings"/>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kern="1200" dirty="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050" b="0" i="0" u="none" strike="noStrike" dirty="0">
                        <a:effectLst/>
                        <a:latin typeface="Wingdings"/>
                        <a:sym typeface="Wingdings"/>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2136242"/>
                  </a:ext>
                </a:extLst>
              </a:tr>
              <a:tr h="215888">
                <a:tc vMerge="1">
                  <a:txBody>
                    <a:bodyPr/>
                    <a:lstStyle/>
                    <a:p>
                      <a:pPr marL="0" algn="l" defTabSz="932742" rtl="0" eaLnBrk="1" latinLnBrk="0" hangingPunct="1"/>
                      <a:endParaRPr lang="en-US" sz="1400" u="none" kern="1200" dirty="0">
                        <a:solidFill>
                          <a:srgbClr val="002060"/>
                        </a:solidFill>
                        <a:latin typeface="+mj-lt"/>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indent="53975" algn="l" defTabSz="932742" rtl="0" eaLnBrk="1" fontAlgn="ctr" latinLnBrk="0" hangingPunct="1">
                        <a:lnSpc>
                          <a:spcPts val="1000"/>
                        </a:lnSpc>
                        <a:spcBef>
                          <a:spcPts val="0"/>
                        </a:spcBef>
                        <a:spcAft>
                          <a:spcPts val="0"/>
                        </a:spcAft>
                      </a:pPr>
                      <a:r>
                        <a:rPr lang="en-US" sz="1100" b="0" kern="1200" dirty="0">
                          <a:solidFill>
                            <a:schemeClr val="tx1"/>
                          </a:solidFill>
                          <a:latin typeface="+mn-lt"/>
                          <a:ea typeface="+mn-ea"/>
                          <a:cs typeface="+mn-cs"/>
                        </a:rPr>
                        <a:t>Attended desktop flows</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dirty="0">
                          <a:effectLst/>
                          <a:latin typeface="Segoe UI"/>
                          <a:ea typeface="MS Mincho"/>
                          <a:cs typeface="Arial"/>
                        </a:rPr>
                        <a:t>-</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kern="120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050" b="0" i="0" u="none" strike="noStrike">
                        <a:effectLst/>
                        <a:latin typeface="Wingdings"/>
                        <a:sym typeface="Wingdings"/>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dirty="0">
                          <a:effectLst/>
                          <a:latin typeface="Segoe UI"/>
                          <a:ea typeface="MS Mincho"/>
                          <a:cs typeface="Arial"/>
                        </a:rPr>
                        <a:t>-</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3096784"/>
                  </a:ext>
                </a:extLst>
              </a:tr>
              <a:tr h="215888">
                <a:tc vMerge="1">
                  <a:txBody>
                    <a:bodyPr/>
                    <a:lstStyle/>
                    <a:p>
                      <a:pPr marL="0" algn="l" defTabSz="932742" rtl="0" eaLnBrk="1" latinLnBrk="0" hangingPunct="1"/>
                      <a:endParaRPr lang="en-US" sz="1400" u="none" kern="1200" dirty="0">
                        <a:solidFill>
                          <a:srgbClr val="002060"/>
                        </a:solidFill>
                        <a:latin typeface="+mj-lt"/>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indent="53975" algn="l" defTabSz="932742" rtl="0" eaLnBrk="1" fontAlgn="ctr" latinLnBrk="0" hangingPunct="1">
                        <a:lnSpc>
                          <a:spcPts val="1000"/>
                        </a:lnSpc>
                        <a:spcBef>
                          <a:spcPts val="0"/>
                        </a:spcBef>
                        <a:spcAft>
                          <a:spcPts val="0"/>
                        </a:spcAft>
                      </a:pPr>
                      <a:r>
                        <a:rPr lang="en-US" sz="1100" b="0" kern="1200" dirty="0">
                          <a:solidFill>
                            <a:schemeClr val="tx1"/>
                          </a:solidFill>
                          <a:latin typeface="+mn-lt"/>
                          <a:ea typeface="+mn-ea"/>
                          <a:cs typeface="+mn-cs"/>
                        </a:rPr>
                        <a:t>Unattended desktop flows</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a:effectLst/>
                          <a:latin typeface="Segoe UI"/>
                          <a:ea typeface="MS Mincho"/>
                          <a:cs typeface="Arial"/>
                        </a:rPr>
                        <a:t>-</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t">
                        <a:spcBef>
                          <a:spcPts val="0"/>
                        </a:spcBef>
                        <a:spcAft>
                          <a:spcPts val="0"/>
                        </a:spcAft>
                      </a:pPr>
                      <a:r>
                        <a:rPr lang="en-US" sz="1050" b="0" i="0" u="none" strike="noStrike">
                          <a:effectLst/>
                          <a:latin typeface="Segoe UI"/>
                          <a:ea typeface="MS Mincho"/>
                          <a:cs typeface="Arial"/>
                        </a:rPr>
                        <a:t>-</a:t>
                      </a:r>
                    </a:p>
                  </a:txBody>
                  <a:tcPr marL="14495" marR="14495" marT="14495" marB="14495">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t">
                        <a:spcBef>
                          <a:spcPts val="0"/>
                        </a:spcBef>
                        <a:spcAft>
                          <a:spcPts val="0"/>
                        </a:spcAft>
                      </a:pPr>
                      <a:r>
                        <a:rPr lang="en-US" sz="1050" b="0" i="0" u="none" strike="noStrike" dirty="0">
                          <a:effectLst/>
                          <a:latin typeface="Segoe UI"/>
                          <a:ea typeface="MS Mincho"/>
                          <a:cs typeface="Arial"/>
                        </a:rPr>
                        <a:t>-</a:t>
                      </a:r>
                    </a:p>
                  </a:txBody>
                  <a:tcPr marL="14495" marR="14495" marT="14495" marB="14495">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43105699"/>
                  </a:ext>
                </a:extLst>
              </a:tr>
              <a:tr h="215888">
                <a:tc vMerge="1">
                  <a:txBody>
                    <a:bodyPr/>
                    <a:lstStyle/>
                    <a:p>
                      <a:pPr marL="0" algn="l" defTabSz="932742" rtl="0" eaLnBrk="1" latinLnBrk="0" hangingPunct="1"/>
                      <a:endParaRPr lang="en-US" sz="1400" u="none" kern="1200" dirty="0">
                        <a:solidFill>
                          <a:srgbClr val="002060"/>
                        </a:solidFill>
                        <a:latin typeface="+mj-lt"/>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indent="53975" algn="l" defTabSz="932742" rtl="0" eaLnBrk="1" fontAlgn="ctr" latinLnBrk="0" hangingPunct="1">
                        <a:lnSpc>
                          <a:spcPts val="1000"/>
                        </a:lnSpc>
                        <a:spcBef>
                          <a:spcPts val="0"/>
                        </a:spcBef>
                        <a:spcAft>
                          <a:spcPts val="0"/>
                        </a:spcAft>
                      </a:pPr>
                      <a:r>
                        <a:rPr lang="en-US" sz="1100" b="0" kern="1200" dirty="0" err="1">
                          <a:solidFill>
                            <a:schemeClr val="tx1"/>
                          </a:solidFill>
                          <a:latin typeface="+mn-lt"/>
                          <a:ea typeface="+mn-ea"/>
                          <a:cs typeface="+mn-cs"/>
                        </a:rPr>
                        <a:t>WinAutomation</a:t>
                      </a:r>
                      <a:r>
                        <a:rPr lang="en-US" sz="1100" b="0" kern="1200" dirty="0">
                          <a:solidFill>
                            <a:schemeClr val="tx1"/>
                          </a:solidFill>
                          <a:latin typeface="+mn-lt"/>
                          <a:ea typeface="+mn-ea"/>
                          <a:cs typeface="+mn-cs"/>
                        </a:rPr>
                        <a:t> client capabilities</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dirty="0">
                          <a:effectLst/>
                          <a:latin typeface="Segoe UI"/>
                          <a:ea typeface="MS Mincho"/>
                          <a:cs typeface="Arial"/>
                        </a:rPr>
                        <a:t>-</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kern="120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050" b="0" i="0" u="none" strike="noStrike">
                        <a:effectLst/>
                        <a:latin typeface="Wingdings"/>
                        <a:sym typeface="Wingdings"/>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050" b="0" i="0" u="none" strike="noStrike" dirty="0">
                          <a:effectLst/>
                          <a:latin typeface="Segoe UI"/>
                          <a:ea typeface="MS Mincho"/>
                          <a:cs typeface="Arial"/>
                        </a:rPr>
                        <a:t>-</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587329"/>
                  </a:ext>
                </a:extLst>
              </a:tr>
              <a:tr h="417773">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dirty="0">
                          <a:solidFill>
                            <a:srgbClr val="002060"/>
                          </a:solidFill>
                          <a:latin typeface="+mj-lt"/>
                        </a:rPr>
                        <a:t>Visualize and analyze </a:t>
                      </a:r>
                    </a:p>
                    <a:p>
                      <a:pPr marL="0" algn="l" defTabSz="932742" rtl="0" eaLnBrk="1" latinLnBrk="0" hangingPunct="1"/>
                      <a:r>
                        <a:rPr lang="en-US" sz="1200" u="none" kern="1200" dirty="0">
                          <a:solidFill>
                            <a:srgbClr val="002060"/>
                          </a:solidFill>
                          <a:latin typeface="+mj-lt"/>
                        </a:rPr>
                        <a:t>processes</a:t>
                      </a: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100" kern="1200" dirty="0">
                          <a:latin typeface="+mn-lt"/>
                        </a:rPr>
                        <a:t>Process advisor</a:t>
                      </a: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noProof="0" dirty="0">
                          <a:solidFill>
                            <a:schemeClr val="accent5">
                              <a:lumMod val="75000"/>
                            </a:schemeClr>
                          </a:solidFill>
                          <a:latin typeface="+mn-lt"/>
                          <a:ea typeface="+mn-ea"/>
                          <a:cs typeface="+mn-cs"/>
                          <a:sym typeface="Wingdings" panose="05000000000000000000" pitchFamily="2" charset="2"/>
                        </a:rPr>
                        <a:t>-</a:t>
                      </a:r>
                      <a:endParaRPr lang="en-US" sz="1100" b="1"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60479029"/>
                  </a:ext>
                </a:extLst>
              </a:tr>
              <a:tr h="234081">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dirty="0">
                          <a:solidFill>
                            <a:srgbClr val="002060"/>
                          </a:solidFill>
                          <a:latin typeface="+mj-lt"/>
                        </a:rPr>
                        <a:t>Share and collaborate</a:t>
                      </a: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100" kern="1200" dirty="0">
                          <a:latin typeface="+mn-lt"/>
                        </a:rPr>
                        <a:t>Applies to flows included in the license</a:t>
                      </a: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1" kern="1200" noProof="0" dirty="0">
                          <a:solidFill>
                            <a:schemeClr val="accent5">
                              <a:lumMod val="75000"/>
                            </a:schemeClr>
                          </a:solidFill>
                          <a:latin typeface="+mn-lt"/>
                          <a:ea typeface="+mn-ea"/>
                          <a:cs typeface="+mn-cs"/>
                          <a:sym typeface="Wingdings" panose="05000000000000000000" pitchFamily="2" charset="2"/>
                        </a:rPr>
                        <a:t>-</a:t>
                      </a:r>
                      <a:endParaRPr lang="en-US" sz="1100" b="1"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54187026"/>
                  </a:ext>
                </a:extLst>
              </a:tr>
              <a:tr h="234081">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dirty="0">
                          <a:solidFill>
                            <a:srgbClr val="002060"/>
                          </a:solidFill>
                          <a:latin typeface="+mj-lt"/>
                        </a:rPr>
                        <a:t>Connect to your data</a:t>
                      </a:r>
                      <a:endParaRPr lang="en-US" sz="1200" b="1" i="0" u="none" kern="1200" dirty="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indent="53975" algn="l" defTabSz="932742" rtl="0" eaLnBrk="1" latinLnBrk="0" hangingPunct="1">
                        <a:lnSpc>
                          <a:spcPts val="1000"/>
                        </a:lnSpc>
                        <a:spcBef>
                          <a:spcPts val="0"/>
                        </a:spcBef>
                        <a:spcAft>
                          <a:spcPts val="0"/>
                        </a:spcAft>
                      </a:pPr>
                      <a:r>
                        <a:rPr lang="en-US" sz="1100" b="0" kern="1200" dirty="0">
                          <a:solidFill>
                            <a:schemeClr val="tx1"/>
                          </a:solidFill>
                          <a:latin typeface="+mn-lt"/>
                          <a:ea typeface="+mn-ea"/>
                          <a:cs typeface="+mn-cs"/>
                        </a:rPr>
                        <a:t>Standard connectors</a:t>
                      </a: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n-lt"/>
                          <a:sym typeface="Wingdings" panose="05000000000000000000" pitchFamily="2" charset="2"/>
                        </a:rPr>
                        <a:t></a:t>
                      </a:r>
                      <a:endParaRPr lang="en-US" sz="11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44851210"/>
                  </a:ext>
                </a:extLst>
              </a:tr>
              <a:tr h="234081">
                <a:tc vMerge="1">
                  <a:txBody>
                    <a:bodyPr/>
                    <a:lstStyle/>
                    <a:p>
                      <a:endParaRPr lang="en-US"/>
                    </a:p>
                  </a:txBody>
                  <a:tcPr/>
                </a:tc>
                <a:tc>
                  <a:txBody>
                    <a:bodyPr/>
                    <a:lstStyle/>
                    <a:p>
                      <a:pPr marL="0" marR="0" indent="53975" algn="l" defTabSz="932742" rtl="0" eaLnBrk="1" latinLnBrk="0" hangingPunct="1">
                        <a:lnSpc>
                          <a:spcPts val="1000"/>
                        </a:lnSpc>
                        <a:spcBef>
                          <a:spcPts val="0"/>
                        </a:spcBef>
                        <a:spcAft>
                          <a:spcPts val="0"/>
                        </a:spcAft>
                      </a:pPr>
                      <a:r>
                        <a:rPr lang="en-US" sz="1100" b="0" kern="1200" dirty="0">
                          <a:solidFill>
                            <a:schemeClr val="tx1"/>
                          </a:solidFill>
                          <a:latin typeface="+mn-lt"/>
                          <a:ea typeface="+mn-ea"/>
                          <a:cs typeface="+mn-cs"/>
                        </a:rPr>
                        <a:t>Premium and custom connectors</a:t>
                      </a: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r>
                        <a:rPr lang="en-US" sz="1100" b="0" i="0" u="none" strike="noStrike" kern="1200" baseline="30000" dirty="0">
                          <a:solidFill>
                            <a:srgbClr val="000000"/>
                          </a:solidFill>
                          <a:effectLst/>
                          <a:latin typeface="+mn-lt"/>
                          <a:ea typeface="MS Mincho"/>
                          <a:cs typeface="Arial"/>
                          <a:sym typeface="Wingdings"/>
                        </a:rPr>
                        <a:t>2</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n-lt"/>
                          <a:sym typeface="Wingdings" panose="05000000000000000000" pitchFamily="2" charset="2"/>
                        </a:rPr>
                        <a:t></a:t>
                      </a:r>
                      <a:r>
                        <a:rPr lang="en-US" sz="1100" b="0" i="0" u="none" strike="noStrike" kern="1200" baseline="30000" dirty="0">
                          <a:solidFill>
                            <a:srgbClr val="000000"/>
                          </a:solidFill>
                          <a:effectLst/>
                          <a:latin typeface="+mn-lt"/>
                          <a:ea typeface="MS Mincho"/>
                          <a:cs typeface="Arial"/>
                          <a:sym typeface="Wingdings"/>
                        </a:rPr>
                        <a:t>2</a:t>
                      </a:r>
                      <a:endParaRPr lang="en-US" sz="11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6990187"/>
                  </a:ext>
                </a:extLst>
              </a:tr>
              <a:tr h="234081">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91427" marR="91427" marT="45713" marB="45713" vert="vert270">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75757A"/>
                    </a:solidFill>
                  </a:tcPr>
                </a:tc>
                <a:tc>
                  <a:txBody>
                    <a:bodyPr/>
                    <a:lstStyle/>
                    <a:p>
                      <a:pPr marL="0" marR="0" indent="53975" algn="l" defTabSz="932742" rtl="0" eaLnBrk="1" latinLnBrk="0" hangingPunct="1">
                        <a:lnSpc>
                          <a:spcPts val="1000"/>
                        </a:lnSpc>
                        <a:spcBef>
                          <a:spcPts val="0"/>
                        </a:spcBef>
                        <a:spcAft>
                          <a:spcPts val="0"/>
                        </a:spcAft>
                      </a:pPr>
                      <a:r>
                        <a:rPr lang="en-US" sz="1100" b="0" kern="1200" dirty="0">
                          <a:solidFill>
                            <a:schemeClr val="tx1"/>
                          </a:solidFill>
                          <a:latin typeface="+mn-lt"/>
                          <a:ea typeface="+mn-ea"/>
                          <a:cs typeface="+mn-cs"/>
                        </a:rPr>
                        <a:t>On premises data gateway</a:t>
                      </a: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mn-cs"/>
                          <a:sym typeface="Wingdings" panose="05000000000000000000" pitchFamily="2" charset="2"/>
                        </a:rPr>
                        <a:t></a:t>
                      </a:r>
                      <a:endParaRPr kumimoji="0" lang="en-US" sz="1100" b="0" i="0" u="none" strike="noStrike" kern="1200" cap="none" spc="0" normalizeH="0" baseline="0" noProof="0" dirty="0">
                        <a:ln>
                          <a:noFill/>
                        </a:ln>
                        <a:solidFill>
                          <a:srgbClr val="30E5D0">
                            <a:lumMod val="75000"/>
                          </a:srgbClr>
                        </a:solidFill>
                        <a:effectLst/>
                        <a:uLnTx/>
                        <a:uFillTx/>
                        <a:latin typeface="Segoe UI"/>
                        <a:ea typeface="+mn-ea"/>
                        <a:cs typeface="+mn-cs"/>
                      </a:endParaRPr>
                    </a:p>
                  </a:txBody>
                  <a:tcPr marL="27305" marR="18415" marT="8890" marB="889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n-lt"/>
                          <a:sym typeface="Wingdings" panose="05000000000000000000" pitchFamily="2" charset="2"/>
                        </a:rPr>
                        <a:t></a:t>
                      </a:r>
                      <a:endParaRPr lang="en-US" sz="11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62594571"/>
                  </a:ext>
                </a:extLst>
              </a:tr>
              <a:tr h="234081">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dirty="0">
                          <a:solidFill>
                            <a:srgbClr val="002060"/>
                          </a:solidFill>
                          <a:latin typeface="+mj-lt"/>
                        </a:rPr>
                        <a:t>Store and manage data</a:t>
                      </a:r>
                      <a:endParaRPr lang="en-US" sz="1200" b="1" i="0" u="none" kern="1200" dirty="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100" b="0" kern="1200" dirty="0">
                          <a:solidFill>
                            <a:schemeClr val="tx1"/>
                          </a:solidFill>
                          <a:latin typeface="+mn-lt"/>
                        </a:rPr>
                        <a:t>Utilize </a:t>
                      </a:r>
                      <a:r>
                        <a:rPr lang="en-US" sz="1100" b="0" kern="1200" dirty="0" err="1">
                          <a:solidFill>
                            <a:schemeClr val="tx1"/>
                          </a:solidFill>
                          <a:latin typeface="+mn-lt"/>
                        </a:rPr>
                        <a:t>Dataverse</a:t>
                      </a:r>
                      <a:endParaRPr lang="en-US" sz="1100" b="0" kern="12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n-lt"/>
                          <a:sym typeface="Wingdings" panose="05000000000000000000" pitchFamily="2" charset="2"/>
                        </a:rPr>
                        <a:t></a:t>
                      </a:r>
                      <a:endParaRPr lang="en-US" sz="11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n-lt"/>
                          <a:sym typeface="Wingdings" panose="05000000000000000000" pitchFamily="2" charset="2"/>
                        </a:rPr>
                        <a:t></a:t>
                      </a:r>
                      <a:endParaRPr lang="en-US" sz="11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n-lt"/>
                          <a:sym typeface="Wingdings" panose="05000000000000000000" pitchFamily="2" charset="2"/>
                        </a:rPr>
                        <a:t></a:t>
                      </a:r>
                      <a:endParaRPr lang="en-US" sz="1100"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92468886"/>
                  </a:ext>
                </a:extLst>
              </a:tr>
              <a:tr h="234081">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dirty="0">
                          <a:solidFill>
                            <a:srgbClr val="002060"/>
                          </a:solidFill>
                          <a:latin typeface="+mj-lt"/>
                        </a:rPr>
                        <a:t>Per license capacity</a:t>
                      </a:r>
                      <a:r>
                        <a:rPr lang="en-US" sz="1200" u="none" kern="1200" baseline="30000" dirty="0">
                          <a:solidFill>
                            <a:srgbClr val="002060"/>
                          </a:solidFill>
                          <a:latin typeface="+mj-lt"/>
                        </a:rPr>
                        <a:t>1</a:t>
                      </a:r>
                      <a:endParaRPr lang="en-US" sz="1200" b="1" i="0" u="none" kern="1200" baseline="30000" dirty="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100" b="0" kern="1200" dirty="0" err="1">
                          <a:solidFill>
                            <a:schemeClr val="tx1"/>
                          </a:solidFill>
                          <a:latin typeface="+mn-lt"/>
                        </a:rPr>
                        <a:t>Dataverse</a:t>
                      </a:r>
                      <a:r>
                        <a:rPr lang="en-US" sz="1100" b="0" kern="1200" dirty="0">
                          <a:solidFill>
                            <a:schemeClr val="tx1"/>
                          </a:solidFill>
                          <a:latin typeface="+mn-lt"/>
                        </a:rPr>
                        <a:t> Database Capacity</a:t>
                      </a:r>
                      <a:r>
                        <a:rPr lang="en-US" sz="1100" b="0" kern="1200" baseline="30000" dirty="0">
                          <a:solidFill>
                            <a:schemeClr val="tx1"/>
                          </a:solidFill>
                          <a:latin typeface="+mn-lt"/>
                        </a:rPr>
                        <a:t>3</a:t>
                      </a:r>
                      <a:endParaRPr lang="en-US" sz="1100" b="0" kern="1200" baseline="300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100" b="0" i="0" u="none" strike="noStrike" kern="1200" dirty="0">
                          <a:solidFill>
                            <a:schemeClr val="tx1"/>
                          </a:solidFill>
                          <a:effectLst/>
                          <a:latin typeface="Segoe UI"/>
                          <a:ea typeface="MS Mincho"/>
                          <a:cs typeface="Arial"/>
                        </a:rPr>
                        <a:t>250</a:t>
                      </a:r>
                      <a:r>
                        <a:rPr lang="en-US" sz="1100" b="0" i="0" u="none" strike="noStrike" dirty="0">
                          <a:solidFill>
                            <a:schemeClr val="tx1"/>
                          </a:solidFill>
                          <a:effectLst/>
                          <a:latin typeface="Segoe UI"/>
                          <a:ea typeface="MS Mincho"/>
                          <a:cs typeface="Arial"/>
                        </a:rPr>
                        <a:t>MB</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100" b="0" i="0" u="none" strike="noStrike" kern="1200" dirty="0">
                          <a:solidFill>
                            <a:schemeClr val="tx1"/>
                          </a:solidFill>
                          <a:effectLst/>
                          <a:latin typeface="Segoe UI"/>
                          <a:ea typeface="MS Mincho"/>
                          <a:cs typeface="Arial"/>
                        </a:rPr>
                        <a:t>250</a:t>
                      </a:r>
                      <a:r>
                        <a:rPr lang="en-US" sz="1100" b="0" i="0" u="none" strike="noStrike" dirty="0">
                          <a:solidFill>
                            <a:schemeClr val="tx1"/>
                          </a:solidFill>
                          <a:effectLst/>
                          <a:latin typeface="Segoe UI"/>
                          <a:ea typeface="MS Mincho"/>
                          <a:cs typeface="Arial"/>
                        </a:rPr>
                        <a:t>MB</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100" b="0" i="0" u="none" strike="noStrike">
                          <a:effectLst/>
                          <a:latin typeface="Segoe UI"/>
                          <a:ea typeface="MS Mincho"/>
                          <a:cs typeface="Arial"/>
                        </a:rPr>
                        <a:t>50MB</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672962"/>
                  </a:ext>
                </a:extLst>
              </a:tr>
              <a:tr h="234081">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91427" marR="91427" marT="45713" marB="45713"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scheme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100" b="0" kern="1200" dirty="0" err="1">
                          <a:solidFill>
                            <a:schemeClr val="tx1"/>
                          </a:solidFill>
                          <a:latin typeface="+mn-lt"/>
                        </a:rPr>
                        <a:t>Dataverse</a:t>
                      </a:r>
                      <a:r>
                        <a:rPr lang="en-US" sz="1100" b="0" kern="1200" dirty="0">
                          <a:solidFill>
                            <a:schemeClr val="tx1"/>
                          </a:solidFill>
                          <a:latin typeface="+mn-lt"/>
                        </a:rPr>
                        <a:t> File Capacity</a:t>
                      </a:r>
                      <a:r>
                        <a:rPr lang="en-US" sz="1100" b="0" kern="1200" baseline="30000" dirty="0">
                          <a:solidFill>
                            <a:schemeClr val="tx1"/>
                          </a:solidFill>
                          <a:latin typeface="+mn-lt"/>
                        </a:rPr>
                        <a:t>3</a:t>
                      </a:r>
                      <a:endParaRPr lang="en-US" sz="1100" b="0" kern="1200" baseline="300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algn="ctr">
                        <a:spcBef>
                          <a:spcPts val="0"/>
                        </a:spcBef>
                        <a:spcAft>
                          <a:spcPts val="0"/>
                        </a:spcAft>
                        <a:buNone/>
                      </a:pPr>
                      <a:r>
                        <a:rPr lang="en-US" sz="1100" b="0" i="0" u="none" strike="noStrike" kern="1200" dirty="0">
                          <a:solidFill>
                            <a:schemeClr val="tx1"/>
                          </a:solidFill>
                          <a:effectLst/>
                          <a:latin typeface="Segoe UI"/>
                          <a:ea typeface="MS Mincho"/>
                          <a:cs typeface="Arial"/>
                        </a:rPr>
                        <a:t>2GB</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100" b="0" i="0" u="none" strike="noStrike" kern="1200" dirty="0">
                          <a:solidFill>
                            <a:schemeClr val="tx1"/>
                          </a:solidFill>
                          <a:effectLst/>
                          <a:latin typeface="Segoe UI"/>
                          <a:ea typeface="MS Mincho"/>
                          <a:cs typeface="Arial"/>
                        </a:rPr>
                        <a:t>2GB</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100" b="0" i="0" u="none" strike="noStrike">
                          <a:effectLst/>
                          <a:latin typeface="Segoe UI"/>
                          <a:ea typeface="MS Mincho"/>
                          <a:cs typeface="Arial"/>
                        </a:rPr>
                        <a:t>200MB</a:t>
                      </a: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04484133"/>
                  </a:ext>
                </a:extLst>
              </a:tr>
              <a:tr h="234081">
                <a:tc vMerge="1">
                  <a:txBody>
                    <a:bodyPr/>
                    <a:lstStyle/>
                    <a:p>
                      <a:pPr marL="0" algn="l" defTabSz="932742" rtl="0" eaLnBrk="1" latinLnBrk="0" hangingPunct="1"/>
                      <a:endParaRPr lang="en-US" sz="1400" b="1" i="0" u="none" kern="1200" baseline="30000">
                        <a:solidFill>
                          <a:schemeClr val="tx2"/>
                        </a:solidFill>
                        <a:latin typeface="+mj-lt"/>
                        <a:ea typeface="+mn-ea"/>
                        <a:cs typeface="Segoe UI Semibold" panose="020B0702040204020203" pitchFamily="34" charset="0"/>
                      </a:endParaRPr>
                    </a:p>
                  </a:txBody>
                  <a:tcPr marL="93247" marR="93247"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100" b="0" kern="1200" dirty="0">
                          <a:solidFill>
                            <a:schemeClr val="tx1"/>
                          </a:solidFill>
                          <a:latin typeface="+mn-lt"/>
                          <a:ea typeface="+mn-ea"/>
                          <a:cs typeface="+mn-cs"/>
                        </a:rPr>
                        <a:t>Daily Power Platform requests</a:t>
                      </a:r>
                      <a:r>
                        <a:rPr lang="en-US" sz="1100" b="0" kern="1200" baseline="30000" dirty="0">
                          <a:solidFill>
                            <a:schemeClr val="tx1"/>
                          </a:solidFill>
                          <a:latin typeface="+mn-lt"/>
                        </a:rPr>
                        <a:t>1</a:t>
                      </a:r>
                      <a:endParaRPr lang="en-US" sz="1100" b="0" kern="1200" baseline="300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100" b="0" i="0" u="none" strike="noStrike" dirty="0">
                          <a:effectLst/>
                          <a:latin typeface="+mn-lt"/>
                          <a:ea typeface="MS Mincho"/>
                          <a:cs typeface="Arial"/>
                        </a:rPr>
                        <a:t>40,000</a:t>
                      </a:r>
                      <a:endParaRPr lang="en-US" sz="1100" b="0" i="0" u="none" strike="noStrike" dirty="0">
                        <a:effectLst/>
                        <a:latin typeface="Segoe UI"/>
                        <a:ea typeface="MS Mincho"/>
                        <a:cs typeface="Arial"/>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100" b="0" i="0" u="none" strike="noStrike" dirty="0">
                          <a:effectLst/>
                          <a:latin typeface="+mn-lt"/>
                          <a:ea typeface="MS Mincho"/>
                          <a:cs typeface="Arial"/>
                        </a:rPr>
                        <a:t>40,000</a:t>
                      </a:r>
                      <a:endParaRPr lang="en-US" sz="1100" b="0" i="0" u="none" strike="noStrike" dirty="0">
                        <a:effectLst/>
                        <a:latin typeface="Segoe UI"/>
                        <a:ea typeface="MS Mincho"/>
                        <a:cs typeface="Arial"/>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algn="ctr" fontAlgn="ctr">
                        <a:spcBef>
                          <a:spcPts val="0"/>
                        </a:spcBef>
                        <a:spcAft>
                          <a:spcPts val="0"/>
                        </a:spcAft>
                      </a:pPr>
                      <a:r>
                        <a:rPr lang="en-US" sz="1100" b="0" i="0" u="none" strike="noStrike" dirty="0">
                          <a:effectLst/>
                          <a:latin typeface="+mn-lt"/>
                          <a:ea typeface="MS Mincho"/>
                          <a:cs typeface="Arial"/>
                        </a:rPr>
                        <a:t>250,000</a:t>
                      </a:r>
                      <a:endParaRPr lang="en-US" sz="1100" b="0" i="0" u="none" strike="noStrike" dirty="0">
                        <a:effectLst/>
                        <a:latin typeface="Segoe UI"/>
                        <a:ea typeface="MS Mincho"/>
                        <a:cs typeface="Arial"/>
                      </a:endParaRPr>
                    </a:p>
                  </a:txBody>
                  <a:tcPr marL="14495" marR="14495" marT="14495" marB="14495"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92609921"/>
                  </a:ext>
                </a:extLst>
              </a:tr>
              <a:tr h="234081">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dirty="0">
                          <a:solidFill>
                            <a:srgbClr val="002060"/>
                          </a:solidFill>
                          <a:latin typeface="+mj-lt"/>
                        </a:rPr>
                        <a:t>Infuse AI</a:t>
                      </a:r>
                      <a:endParaRPr lang="en-US" sz="1200" b="1" i="0" u="none" kern="1200" dirty="0">
                        <a:solidFill>
                          <a:srgbClr val="00206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100" kern="1200" dirty="0">
                          <a:latin typeface="+mn-lt"/>
                        </a:rPr>
                        <a:t>AI Builder capacity add-on</a:t>
                      </a:r>
                      <a:r>
                        <a:rPr lang="en-US" sz="1100" b="0" kern="1200" baseline="30000" dirty="0">
                          <a:solidFill>
                            <a:schemeClr val="tx1"/>
                          </a:solidFill>
                          <a:latin typeface="Segoe UI"/>
                          <a:ea typeface="+mn-ea"/>
                          <a:cs typeface="+mn-cs"/>
                        </a:rPr>
                        <a:t>4</a:t>
                      </a:r>
                      <a:endParaRPr lang="en-US" sz="1100" b="0" kern="1200" baseline="30000" dirty="0">
                        <a:solidFill>
                          <a:schemeClr val="tx1"/>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kern="1200" noProof="0" dirty="0">
                          <a:latin typeface="+mn-lt"/>
                          <a:sym typeface="Wingdings" panose="05000000000000000000" pitchFamily="2" charset="2"/>
                        </a:rPr>
                        <a:t>$</a:t>
                      </a:r>
                      <a:endParaRPr lang="en-US" sz="1100" b="1"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i="0" u="none" strike="noStrike" dirty="0">
                          <a:effectLst/>
                          <a:latin typeface="Segoe UI"/>
                          <a:ea typeface="MS Mincho"/>
                          <a:cs typeface="Arial"/>
                        </a:rPr>
                        <a:t>5,000</a:t>
                      </a:r>
                      <a:endParaRPr lang="en-US" sz="1100" b="1" kern="120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kern="1200" noProof="0" dirty="0">
                          <a:latin typeface="+mn-lt"/>
                          <a:sym typeface="Wingdings" panose="05000000000000000000" pitchFamily="2" charset="2"/>
                        </a:rPr>
                        <a:t>$</a:t>
                      </a:r>
                      <a:endParaRPr lang="en-US" sz="1100" b="1" kern="1200" noProof="0" dirty="0">
                        <a:solidFill>
                          <a:schemeClr val="accent5">
                            <a:lumMod val="75000"/>
                          </a:schemeClr>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85558201"/>
                  </a:ext>
                </a:extLst>
              </a:tr>
            </a:tbl>
          </a:graphicData>
        </a:graphic>
      </p:graphicFrame>
      <p:sp>
        <p:nvSpPr>
          <p:cNvPr id="2" name="TextBox 1">
            <a:extLst>
              <a:ext uri="{FF2B5EF4-FFF2-40B4-BE49-F238E27FC236}">
                <a16:creationId xmlns:a16="http://schemas.microsoft.com/office/drawing/2014/main" id="{81CEDC1C-37CF-4D83-8B5C-6784EC04BFA9}"/>
              </a:ext>
            </a:extLst>
          </p:cNvPr>
          <p:cNvSpPr txBox="1"/>
          <p:nvPr/>
        </p:nvSpPr>
        <p:spPr>
          <a:xfrm>
            <a:off x="35389" y="5966131"/>
            <a:ext cx="12414835" cy="683264"/>
          </a:xfrm>
          <a:prstGeom prst="rect">
            <a:avLst/>
          </a:prstGeom>
          <a:noFill/>
        </p:spPr>
        <p:txBody>
          <a:bodyPr wrap="square" lIns="91440" tIns="45720" rIns="91440" bIns="45720" anchor="t">
            <a:spAutoFit/>
          </a:bodyPr>
          <a:lstStyle/>
          <a:p>
            <a:pPr marL="64135" marR="0" indent="-64135">
              <a:lnSpc>
                <a:spcPct val="80000"/>
              </a:lnSpc>
              <a:spcBef>
                <a:spcPts val="0"/>
              </a:spcBef>
              <a:spcAft>
                <a:spcPts val="0"/>
              </a:spcAft>
            </a:pPr>
            <a:r>
              <a:rPr lang="en-US" sz="1200" baseline="30000" dirty="0">
                <a:solidFill>
                  <a:srgbClr val="4D4D4D"/>
                </a:solidFill>
                <a:latin typeface="Segoe UI"/>
                <a:ea typeface="MS Mincho"/>
                <a:cs typeface="Segoe UI"/>
              </a:rPr>
              <a:t>1</a:t>
            </a:r>
            <a:r>
              <a:rPr lang="en-US" sz="1200" dirty="0">
                <a:solidFill>
                  <a:srgbClr val="4D4D4D"/>
                </a:solidFill>
                <a:effectLst/>
                <a:latin typeface="Segoe UI"/>
                <a:ea typeface="MS Mincho"/>
                <a:cs typeface="Segoe UI"/>
              </a:rPr>
              <a:t> Reference </a:t>
            </a:r>
            <a:r>
              <a:rPr lang="en-US" sz="1200" u="sng" dirty="0">
                <a:solidFill>
                  <a:srgbClr val="4D4D4D"/>
                </a:solidFill>
                <a:effectLst/>
                <a:latin typeface="Segoe UI"/>
                <a:ea typeface="MS Mincho"/>
                <a:cs typeface="Segoe UI"/>
                <a:hlinkClick r:id="rId4"/>
              </a:rPr>
              <a:t>http://aka.ms/platformlimits</a:t>
            </a:r>
            <a:r>
              <a:rPr lang="en-US" sz="1200" dirty="0">
                <a:solidFill>
                  <a:srgbClr val="4D4D4D"/>
                </a:solidFill>
                <a:effectLst/>
                <a:latin typeface="Segoe UI"/>
                <a:ea typeface="MS Mincho"/>
                <a:cs typeface="Segoe UI"/>
              </a:rPr>
              <a:t> for more details on usage limits; “Power Apps and Power Automate capacity add-on” can be purchased to increase daily service limits.</a:t>
            </a:r>
          </a:p>
          <a:p>
            <a:pPr marL="64135" marR="0" indent="-64135">
              <a:lnSpc>
                <a:spcPct val="80000"/>
              </a:lnSpc>
              <a:spcBef>
                <a:spcPts val="0"/>
              </a:spcBef>
              <a:spcAft>
                <a:spcPts val="0"/>
              </a:spcAft>
            </a:pPr>
            <a:r>
              <a:rPr lang="en-US" sz="1200" baseline="30000" dirty="0">
                <a:solidFill>
                  <a:srgbClr val="4D4D4D"/>
                </a:solidFill>
                <a:effectLst/>
                <a:latin typeface="Segoe UI"/>
                <a:ea typeface="MS Mincho"/>
                <a:cs typeface="Segoe UI"/>
              </a:rPr>
              <a:t>2</a:t>
            </a:r>
            <a:r>
              <a:rPr lang="en-US" sz="1200" dirty="0">
                <a:solidFill>
                  <a:srgbClr val="4D4D4D"/>
                </a:solidFill>
                <a:effectLst/>
                <a:latin typeface="Segoe UI"/>
                <a:ea typeface="MS Mincho"/>
                <a:cs typeface="Segoe UI"/>
              </a:rPr>
              <a:t> Desktop flow connector included (it is not included in Windows licenses)</a:t>
            </a:r>
          </a:p>
          <a:p>
            <a:pPr marL="64135" marR="0" indent="-64135">
              <a:lnSpc>
                <a:spcPct val="80000"/>
              </a:lnSpc>
              <a:spcBef>
                <a:spcPts val="0"/>
              </a:spcBef>
              <a:spcAft>
                <a:spcPts val="0"/>
              </a:spcAft>
            </a:pPr>
            <a:r>
              <a:rPr lang="en-US" sz="1200" baseline="30000" dirty="0">
                <a:solidFill>
                  <a:srgbClr val="4D4D4D"/>
                </a:solidFill>
                <a:latin typeface="Segoe UI"/>
                <a:ea typeface="MS Mincho"/>
                <a:cs typeface="Segoe UI"/>
              </a:rPr>
              <a:t>3</a:t>
            </a:r>
            <a:r>
              <a:rPr lang="en-US" sz="1200" baseline="30000" dirty="0">
                <a:solidFill>
                  <a:srgbClr val="4D4D4D"/>
                </a:solidFill>
                <a:effectLst/>
                <a:latin typeface="Segoe UI"/>
                <a:ea typeface="MS Mincho"/>
                <a:cs typeface="Segoe UI"/>
              </a:rPr>
              <a:t> </a:t>
            </a:r>
            <a:r>
              <a:rPr lang="en-US" sz="1200" dirty="0">
                <a:solidFill>
                  <a:srgbClr val="4D4D4D"/>
                </a:solidFill>
                <a:effectLst/>
                <a:latin typeface="Segoe UI"/>
                <a:ea typeface="MS Mincho"/>
                <a:cs typeface="Segoe UI"/>
              </a:rPr>
              <a:t>Additional </a:t>
            </a:r>
            <a:r>
              <a:rPr lang="en-US" sz="1200" dirty="0" err="1">
                <a:solidFill>
                  <a:srgbClr val="4D4D4D"/>
                </a:solidFill>
                <a:effectLst/>
                <a:latin typeface="Segoe UI"/>
                <a:ea typeface="MS Mincho"/>
                <a:cs typeface="Segoe UI"/>
              </a:rPr>
              <a:t>Dataverse</a:t>
            </a:r>
            <a:r>
              <a:rPr lang="en-US" sz="1200" dirty="0">
                <a:solidFill>
                  <a:srgbClr val="4D4D4D"/>
                </a:solidFill>
                <a:effectLst/>
                <a:latin typeface="Segoe UI"/>
                <a:ea typeface="MS Mincho"/>
                <a:cs typeface="Segoe UI"/>
              </a:rPr>
              <a:t> Database/File/Log capacity can be purchased in increments of 1GB. </a:t>
            </a:r>
            <a:r>
              <a:rPr lang="en-US" sz="1200" dirty="0" err="1">
                <a:solidFill>
                  <a:srgbClr val="4D4D4D"/>
                </a:solidFill>
                <a:effectLst/>
                <a:latin typeface="Segoe UI"/>
                <a:ea typeface="MS Mincho"/>
                <a:cs typeface="Segoe UI"/>
              </a:rPr>
              <a:t>Dataverse</a:t>
            </a:r>
            <a:r>
              <a:rPr lang="en-US" sz="1200" dirty="0">
                <a:solidFill>
                  <a:srgbClr val="4D4D4D"/>
                </a:solidFill>
                <a:effectLst/>
                <a:latin typeface="Segoe UI"/>
                <a:ea typeface="MS Mincho"/>
                <a:cs typeface="Segoe UI"/>
              </a:rPr>
              <a:t> Database and File capacity are pooled tenant wide.</a:t>
            </a:r>
          </a:p>
          <a:p>
            <a:pPr marL="64135" marR="0" indent="-64135">
              <a:lnSpc>
                <a:spcPct val="80000"/>
              </a:lnSpc>
              <a:spcBef>
                <a:spcPts val="0"/>
              </a:spcBef>
              <a:spcAft>
                <a:spcPts val="0"/>
              </a:spcAft>
            </a:pPr>
            <a:r>
              <a:rPr lang="en-US" sz="1200" baseline="30000" dirty="0">
                <a:solidFill>
                  <a:srgbClr val="4D4D4D"/>
                </a:solidFill>
                <a:effectLst/>
                <a:latin typeface="Segoe UI"/>
                <a:ea typeface="MS Mincho"/>
                <a:cs typeface="Segoe UI"/>
              </a:rPr>
              <a:t>4</a:t>
            </a:r>
            <a:r>
              <a:rPr lang="en-US" sz="1200" dirty="0">
                <a:solidFill>
                  <a:srgbClr val="4D4D4D"/>
                </a:solidFill>
                <a:effectLst/>
                <a:latin typeface="Segoe UI"/>
                <a:ea typeface="MS Mincho"/>
                <a:cs typeface="Segoe UI"/>
              </a:rPr>
              <a:t> Additional AI Builder capacity can be purchased per 1M service credits for $500/month; AI Builder service credit capacity is pooled on the tenant level.</a:t>
            </a:r>
          </a:p>
        </p:txBody>
      </p:sp>
    </p:spTree>
    <p:custDataLst>
      <p:tags r:id="rId1"/>
    </p:custDataLst>
    <p:extLst>
      <p:ext uri="{BB962C8B-B14F-4D97-AF65-F5344CB8AC3E}">
        <p14:creationId xmlns:p14="http://schemas.microsoft.com/office/powerpoint/2010/main" val="521732247"/>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Power Automate for Office 365 (seeded plan)</a:t>
            </a:r>
          </a:p>
        </p:txBody>
      </p:sp>
      <p:graphicFrame>
        <p:nvGraphicFramePr>
          <p:cNvPr id="2" name="Table 1">
            <a:extLst>
              <a:ext uri="{FF2B5EF4-FFF2-40B4-BE49-F238E27FC236}">
                <a16:creationId xmlns:a16="http://schemas.microsoft.com/office/drawing/2014/main" id="{8FFE737E-9E60-4EAF-8A40-29697C36D291}"/>
              </a:ext>
            </a:extLst>
          </p:cNvPr>
          <p:cNvGraphicFramePr>
            <a:graphicFrameLocks noGrp="1"/>
          </p:cNvGraphicFramePr>
          <p:nvPr>
            <p:extLst>
              <p:ext uri="{D42A27DB-BD31-4B8C-83A1-F6EECF244321}">
                <p14:modId xmlns:p14="http://schemas.microsoft.com/office/powerpoint/2010/main" val="1701421205"/>
              </p:ext>
            </p:extLst>
          </p:nvPr>
        </p:nvGraphicFramePr>
        <p:xfrm>
          <a:off x="576801" y="1333599"/>
          <a:ext cx="11018519" cy="696924"/>
        </p:xfrm>
        <a:graphic>
          <a:graphicData uri="http://schemas.openxmlformats.org/drawingml/2006/table">
            <a:tbl>
              <a:tblPr firstRow="1">
                <a:effectLst/>
              </a:tblPr>
              <a:tblGrid>
                <a:gridCol w="8176223">
                  <a:extLst>
                    <a:ext uri="{9D8B030D-6E8A-4147-A177-3AD203B41FA5}">
                      <a16:colId xmlns:a16="http://schemas.microsoft.com/office/drawing/2014/main" val="185368794"/>
                    </a:ext>
                  </a:extLst>
                </a:gridCol>
                <a:gridCol w="2842296">
                  <a:extLst>
                    <a:ext uri="{9D8B030D-6E8A-4147-A177-3AD203B41FA5}">
                      <a16:colId xmlns:a16="http://schemas.microsoft.com/office/drawing/2014/main" val="161526606"/>
                    </a:ext>
                  </a:extLst>
                </a:gridCol>
              </a:tblGrid>
              <a:tr h="696924">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kern="1200">
                          <a:latin typeface="+mj-lt"/>
                        </a:rPr>
                        <a:t>Plans and capabilities</a:t>
                      </a:r>
                      <a:endParaRPr lang="en-US" sz="1600" b="0" kern="1200">
                        <a:gradFill>
                          <a:gsLst>
                            <a:gs pos="0">
                              <a:schemeClr val="bg2"/>
                            </a:gs>
                            <a:gs pos="100000">
                              <a:schemeClr val="bg1"/>
                            </a:gs>
                          </a:gsLst>
                          <a:lin ang="5400000" scaled="0"/>
                        </a:gra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r>
                        <a:rPr lang="en-US" sz="1600" b="0" kern="1200">
                          <a:latin typeface="+mj-lt"/>
                        </a:rPr>
                        <a:t>Power Automate</a:t>
                      </a:r>
                    </a:p>
                    <a:p>
                      <a:pPr marL="0" algn="ctr" defTabSz="932742" rtl="0" eaLnBrk="1" latinLnBrk="0" hangingPunct="1"/>
                      <a:r>
                        <a:rPr lang="en-US" sz="1600" b="0" kern="1200">
                          <a:latin typeface="+mj-lt"/>
                        </a:rPr>
                        <a:t> for Office 365</a:t>
                      </a:r>
                      <a:endParaRPr lang="en-US" sz="1600" b="0" kern="1200">
                        <a:solidFill>
                          <a:schemeClr val="bg1"/>
                        </a:soli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4080867956"/>
                  </a:ext>
                </a:extLst>
              </a:tr>
            </a:tbl>
          </a:graphicData>
        </a:graphic>
      </p:graphicFrame>
      <p:graphicFrame>
        <p:nvGraphicFramePr>
          <p:cNvPr id="6" name="Table 5">
            <a:extLst>
              <a:ext uri="{FF2B5EF4-FFF2-40B4-BE49-F238E27FC236}">
                <a16:creationId xmlns:a16="http://schemas.microsoft.com/office/drawing/2014/main" id="{EFA13486-B284-42F3-9A7E-A200182E6CD2}"/>
              </a:ext>
            </a:extLst>
          </p:cNvPr>
          <p:cNvGraphicFramePr/>
          <p:nvPr>
            <p:extLst>
              <p:ext uri="{D42A27DB-BD31-4B8C-83A1-F6EECF244321}">
                <p14:modId xmlns:p14="http://schemas.microsoft.com/office/powerpoint/2010/main" val="513639450"/>
              </p:ext>
            </p:extLst>
          </p:nvPr>
        </p:nvGraphicFramePr>
        <p:xfrm>
          <a:off x="576801" y="2062038"/>
          <a:ext cx="11018520" cy="3150042"/>
        </p:xfrm>
        <a:graphic>
          <a:graphicData uri="http://schemas.openxmlformats.org/drawingml/2006/table">
            <a:tbl>
              <a:tblPr firstRow="1"/>
              <a:tblGrid>
                <a:gridCol w="3672840">
                  <a:extLst>
                    <a:ext uri="{9D8B030D-6E8A-4147-A177-3AD203B41FA5}">
                      <a16:colId xmlns:a16="http://schemas.microsoft.com/office/drawing/2014/main" val="758148176"/>
                    </a:ext>
                  </a:extLst>
                </a:gridCol>
                <a:gridCol w="4502757">
                  <a:extLst>
                    <a:ext uri="{9D8B030D-6E8A-4147-A177-3AD203B41FA5}">
                      <a16:colId xmlns:a16="http://schemas.microsoft.com/office/drawing/2014/main" val="2019713174"/>
                    </a:ext>
                  </a:extLst>
                </a:gridCol>
                <a:gridCol w="2842923">
                  <a:extLst>
                    <a:ext uri="{9D8B030D-6E8A-4147-A177-3AD203B41FA5}">
                      <a16:colId xmlns:a16="http://schemas.microsoft.com/office/drawing/2014/main" val="3001138144"/>
                    </a:ext>
                  </a:extLst>
                </a:gridCol>
              </a:tblGrid>
              <a:tr h="313925">
                <a:tc rowSpan="2">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Execute flows</a:t>
                      </a:r>
                      <a:endParaRPr lang="en-US" sz="1300" b="1" i="0" u="none" strike="noStrike">
                        <a:solidFill>
                          <a:srgbClr val="002060"/>
                        </a:solidFill>
                        <a:effectLst/>
                        <a:latin typeface="+mn-lt"/>
                        <a:cs typeface="Arial"/>
                      </a:endParaRPr>
                    </a:p>
                  </a:txBody>
                  <a:tcPr marL="27305" marR="18415" marT="9525"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none" strike="noStrike">
                          <a:solidFill>
                            <a:srgbClr val="4D4D4D"/>
                          </a:solidFill>
                          <a:effectLst/>
                          <a:latin typeface="+mn-lt"/>
                          <a:ea typeface="MS Mincho"/>
                          <a:cs typeface="Segoe UI"/>
                        </a:rPr>
                        <a:t>Automated, instant, and scheduled flows</a:t>
                      </a:r>
                      <a:endParaRPr lang="en-US" sz="1300" b="0" i="0" u="none" strike="noStrike">
                        <a:effectLst/>
                        <a:latin typeface="+mn-lt"/>
                        <a:ea typeface="MS Mincho"/>
                        <a:cs typeface="Segoe UI"/>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sym typeface="Wingdings" panose="05000000000000000000" pitchFamily="2" charset="2"/>
                        </a:rPr>
                        <a:t></a:t>
                      </a:r>
                      <a:endParaRPr kumimoji="0" lang="en-US" sz="1200" b="0" i="0" u="none" strike="noStrike" kern="1200" cap="none" spc="0" normalizeH="0" baseline="0" noProof="0">
                        <a:ln>
                          <a:noFill/>
                        </a:ln>
                        <a:solidFill>
                          <a:srgbClr val="008272"/>
                        </a:solidFill>
                        <a:effectLst/>
                        <a:uLnTx/>
                        <a:uFillTx/>
                        <a:latin typeface="+mn-lt"/>
                        <a:ea typeface="+mn-ea"/>
                        <a:cs typeface="+mn-cs"/>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556673943"/>
                  </a:ext>
                </a:extLst>
              </a:tr>
              <a:tr h="308532">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kern="1200">
                          <a:solidFill>
                            <a:srgbClr val="4D4D4D"/>
                          </a:solidFill>
                          <a:effectLst/>
                          <a:latin typeface="+mn-lt"/>
                          <a:ea typeface="Times New Roman" panose="02020603050405020304" pitchFamily="18" charset="0"/>
                          <a:cs typeface="Segoe UI"/>
                        </a:rPr>
                        <a:t>Business process flows</a:t>
                      </a:r>
                      <a:endParaRPr lang="en-US" sz="1300" b="0" i="0" u="none" strike="noStrike">
                        <a:effectLst/>
                        <a:latin typeface="+mn-lt"/>
                        <a:cs typeface="Segoe UI"/>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D0D0D"/>
                          </a:solidFill>
                          <a:effectLst/>
                          <a:latin typeface="+mn-lt"/>
                          <a:ea typeface="Times New Roman" panose="02020603050405020304" pitchFamily="18" charset="0"/>
                          <a:cs typeface="Arial"/>
                        </a:rPr>
                        <a:t>-</a:t>
                      </a:r>
                      <a:endParaRPr lang="en-US" sz="1300" b="0" i="0" u="none" strike="noStrike">
                        <a:effectLst/>
                        <a:latin typeface="+mn-lt"/>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00454211"/>
                  </a:ext>
                </a:extLst>
              </a:tr>
              <a:tr h="308532">
                <a:tc rowSpan="3">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Connect to your data</a:t>
                      </a:r>
                      <a:endParaRPr lang="en-US" sz="1300" b="1" i="0" u="none" strike="noStrike">
                        <a:solidFill>
                          <a:srgbClr val="002060"/>
                        </a:solidFill>
                        <a:effectLst/>
                        <a:latin typeface="+mn-lt"/>
                        <a:cs typeface="Arial"/>
                      </a:endParaRPr>
                    </a:p>
                  </a:txBody>
                  <a:tcPr marL="27305" marR="18415" marT="9525"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sng" strike="noStrike" kern="1200">
                          <a:solidFill>
                            <a:srgbClr val="0000FF"/>
                          </a:solidFill>
                          <a:effectLst/>
                          <a:latin typeface="+mn-lt"/>
                          <a:ea typeface="Times New Roman" panose="02020603050405020304" pitchFamily="18" charset="0"/>
                          <a:cs typeface="Segoe UI"/>
                          <a:hlinkClick r:id="rId4"/>
                        </a:rPr>
                        <a:t>Standard connectors</a:t>
                      </a:r>
                      <a:endParaRPr lang="en-US" sz="1300" b="0" i="0" u="none" strike="noStrike">
                        <a:effectLst/>
                        <a:latin typeface="+mn-lt"/>
                        <a:cs typeface="Segoe UI"/>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sym typeface="Wingdings" panose="05000000000000000000" pitchFamily="2" charset="2"/>
                        </a:rPr>
                        <a:t></a:t>
                      </a:r>
                      <a:endParaRPr kumimoji="0" lang="en-US" sz="1200" b="0" i="0" u="none" strike="noStrike" kern="1200" cap="none" spc="0" normalizeH="0" baseline="0" noProof="0">
                        <a:ln>
                          <a:noFill/>
                        </a:ln>
                        <a:solidFill>
                          <a:srgbClr val="008272"/>
                        </a:solidFill>
                        <a:effectLst/>
                        <a:uLnTx/>
                        <a:uFillTx/>
                        <a:latin typeface="+mn-lt"/>
                        <a:ea typeface="+mn-ea"/>
                        <a:cs typeface="+mn-cs"/>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412790950"/>
                  </a:ext>
                </a:extLst>
              </a:tr>
              <a:tr h="308532">
                <a:tc vMerge="1">
                  <a:txBody>
                    <a:bodyPr/>
                    <a:lstStyle/>
                    <a:p>
                      <a:endParaRPr lang="en-US"/>
                    </a:p>
                  </a:txBody>
                  <a:tcPr/>
                </a:tc>
                <a:tc>
                  <a:txBody>
                    <a:bodyPr/>
                    <a:lstStyle/>
                    <a:p>
                      <a:pPr marL="0" marR="0" algn="l" fontAlgn="ctr">
                        <a:lnSpc>
                          <a:spcPts val="1000"/>
                        </a:lnSpc>
                        <a:spcBef>
                          <a:spcPts val="0"/>
                        </a:spcBef>
                        <a:spcAft>
                          <a:spcPts val="0"/>
                        </a:spcAft>
                      </a:pPr>
                      <a:r>
                        <a:rPr lang="en-US" sz="1300" b="0" i="0" u="sng" strike="noStrike" kern="1200" dirty="0">
                          <a:solidFill>
                            <a:srgbClr val="0000FF"/>
                          </a:solidFill>
                          <a:effectLst/>
                          <a:latin typeface="+mn-lt"/>
                          <a:ea typeface="Times New Roman" panose="02020603050405020304" pitchFamily="18" charset="0"/>
                          <a:cs typeface="Segoe UI" panose="020B0502040204020203" pitchFamily="34" charset="0"/>
                          <a:hlinkClick r:id="rId5"/>
                        </a:rPr>
                        <a:t>Premium and custom connectors</a:t>
                      </a:r>
                      <a:endParaRPr lang="en-US" sz="1300" b="0" i="0" u="none" strike="noStrike" dirty="0">
                        <a:effectLst/>
                        <a:latin typeface="+mn-lt"/>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D0D0D"/>
                          </a:solidFill>
                          <a:effectLst/>
                          <a:latin typeface="+mn-lt"/>
                          <a:ea typeface="Times New Roman" panose="02020603050405020304" pitchFamily="18" charset="0"/>
                          <a:cs typeface="Arial"/>
                        </a:rPr>
                        <a:t>-</a:t>
                      </a:r>
                      <a:endParaRPr lang="en-US" sz="1300" b="0" i="0" u="none" strike="noStrike">
                        <a:effectLst/>
                        <a:latin typeface="+mn-lt"/>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594586898"/>
                  </a:ext>
                </a:extLst>
              </a:tr>
              <a:tr h="343052">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kern="1200">
                          <a:solidFill>
                            <a:srgbClr val="4D4D4D"/>
                          </a:solidFill>
                          <a:effectLst/>
                          <a:latin typeface="+mn-lt"/>
                          <a:ea typeface="Times New Roman" panose="02020603050405020304" pitchFamily="18" charset="0"/>
                          <a:cs typeface="Segoe UI" panose="020B0502040204020203" pitchFamily="34" charset="0"/>
                        </a:rPr>
                        <a:t>On-premises data gateway</a:t>
                      </a:r>
                      <a:endParaRPr lang="en-US" sz="1300" b="0" i="0" u="none" strike="noStrike">
                        <a:effectLst/>
                        <a:latin typeface="+mn-lt"/>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D0D0D"/>
                          </a:solidFill>
                          <a:effectLst/>
                          <a:latin typeface="+mn-lt"/>
                          <a:ea typeface="Times New Roman" panose="02020603050405020304" pitchFamily="18" charset="0"/>
                          <a:cs typeface="Arial"/>
                        </a:rPr>
                        <a:t>-</a:t>
                      </a:r>
                      <a:endParaRPr lang="en-US" sz="1300" b="0" i="0" u="none" strike="noStrike">
                        <a:effectLst/>
                        <a:latin typeface="+mn-lt"/>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720592874"/>
                  </a:ext>
                </a:extLst>
              </a:tr>
              <a:tr h="702286">
                <a:tc rowSpan="2">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Store and manage data</a:t>
                      </a:r>
                      <a:endParaRPr lang="en-US" sz="1300" b="1" i="0" u="none" strike="noStrike">
                        <a:solidFill>
                          <a:srgbClr val="002060"/>
                        </a:solidFill>
                        <a:effectLst/>
                        <a:latin typeface="+mn-lt"/>
                        <a:cs typeface="Arial"/>
                      </a:endParaRPr>
                    </a:p>
                  </a:txBody>
                  <a:tcPr marL="27305" marR="18415" marT="9525"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l" fontAlgn="ctr">
                        <a:lnSpc>
                          <a:spcPts val="1000"/>
                        </a:lnSpc>
                        <a:spcBef>
                          <a:spcPts val="300"/>
                        </a:spcBef>
                        <a:spcAft>
                          <a:spcPts val="300"/>
                        </a:spcAft>
                      </a:pPr>
                      <a:r>
                        <a:rPr lang="en-US" sz="1300" b="0" i="0" u="none" strike="noStrike" dirty="0">
                          <a:solidFill>
                            <a:srgbClr val="4D4D4D"/>
                          </a:solidFill>
                          <a:effectLst/>
                          <a:latin typeface="+mn-lt"/>
                          <a:ea typeface="MS Mincho"/>
                          <a:cs typeface="Segoe UI"/>
                        </a:rPr>
                        <a:t>Utilize </a:t>
                      </a:r>
                      <a:r>
                        <a:rPr lang="en-US" sz="1300" b="0" i="0" u="none" strike="noStrike" dirty="0" err="1">
                          <a:solidFill>
                            <a:srgbClr val="4D4D4D"/>
                          </a:solidFill>
                          <a:effectLst/>
                          <a:latin typeface="+mn-lt"/>
                          <a:ea typeface="MS Mincho"/>
                          <a:cs typeface="Segoe UI"/>
                        </a:rPr>
                        <a:t>Dataverse</a:t>
                      </a:r>
                      <a:r>
                        <a:rPr lang="en-US" sz="1300" b="0" i="0" u="none" strike="noStrike" dirty="0">
                          <a:solidFill>
                            <a:srgbClr val="4D4D4D"/>
                          </a:solidFill>
                          <a:effectLst/>
                          <a:latin typeface="+mn-lt"/>
                          <a:ea typeface="MS Mincho"/>
                          <a:cs typeface="Segoe UI"/>
                        </a:rPr>
                        <a:t> for Teams </a:t>
                      </a:r>
                      <a:endParaRPr lang="en-US" sz="1300" b="0" i="0" u="none" strike="noStrike" dirty="0">
                        <a:effectLst/>
                        <a:latin typeface="+mn-lt"/>
                      </a:endParaRPr>
                    </a:p>
                    <a:p>
                      <a:pPr marL="0" marR="0" algn="l" fontAlgn="ctr">
                        <a:lnSpc>
                          <a:spcPts val="1000"/>
                        </a:lnSpc>
                        <a:spcBef>
                          <a:spcPts val="300"/>
                        </a:spcBef>
                        <a:spcAft>
                          <a:spcPts val="300"/>
                        </a:spcAft>
                      </a:pPr>
                      <a:r>
                        <a:rPr lang="en-US" sz="1300" b="0" i="0" u="none" strike="noStrike" dirty="0">
                          <a:solidFill>
                            <a:srgbClr val="4D4D4D"/>
                          </a:solidFill>
                          <a:effectLst/>
                          <a:latin typeface="+mn-lt"/>
                          <a:ea typeface="MS Mincho" panose="02020609040205080304" pitchFamily="49" charset="-128"/>
                          <a:cs typeface="Segoe UI" panose="020B0502040204020203" pitchFamily="34" charset="0"/>
                        </a:rPr>
                        <a:t>(use for flows in Teams only)</a:t>
                      </a:r>
                      <a:endParaRPr lang="en-US" sz="1300" b="0" i="0" u="none" strike="noStrike" dirty="0">
                        <a:effectLst/>
                        <a:latin typeface="+mn-lt"/>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a:solidFill>
                            <a:srgbClr val="243A5E"/>
                          </a:solidFill>
                          <a:effectLst/>
                          <a:latin typeface="+mn-lt"/>
                          <a:ea typeface="MS Mincho"/>
                          <a:cs typeface="Arial"/>
                        </a:rPr>
                        <a:t>Select Office 365 licenses</a:t>
                      </a:r>
                      <a:endParaRPr lang="en-US" sz="1300" b="0" i="0" u="none" strike="noStrike">
                        <a:effectLst/>
                        <a:latin typeface="+mn-lt"/>
                        <a:ea typeface="MS Mincho"/>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97406205"/>
                  </a:ext>
                </a:extLst>
              </a:tr>
              <a:tr h="556651">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kern="1200" dirty="0" err="1">
                          <a:solidFill>
                            <a:srgbClr val="4D4D4D"/>
                          </a:solidFill>
                          <a:effectLst/>
                          <a:latin typeface="+mn-lt"/>
                          <a:ea typeface="Times New Roman" panose="02020603050405020304" pitchFamily="18" charset="0"/>
                          <a:cs typeface="Segoe UI"/>
                        </a:rPr>
                        <a:t>Dataverse</a:t>
                      </a:r>
                      <a:r>
                        <a:rPr lang="en-US" sz="1300" b="0" i="0" u="none" strike="noStrike" kern="1200" dirty="0">
                          <a:solidFill>
                            <a:srgbClr val="4D4D4D"/>
                          </a:solidFill>
                          <a:effectLst/>
                          <a:latin typeface="+mn-lt"/>
                          <a:ea typeface="Times New Roman" panose="02020603050405020304" pitchFamily="18" charset="0"/>
                          <a:cs typeface="Segoe UI"/>
                        </a:rPr>
                        <a:t> (formerly Common Data Service) use rights</a:t>
                      </a:r>
                      <a:endParaRPr lang="en-US" sz="1300" b="0" i="0" u="none" strike="noStrike" dirty="0">
                        <a:effectLst/>
                        <a:latin typeface="+mn-lt"/>
                        <a:cs typeface="Segoe UI"/>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D0D0D"/>
                          </a:solidFill>
                          <a:effectLst/>
                          <a:latin typeface="+mn-lt"/>
                          <a:ea typeface="Times New Roman" panose="02020603050405020304" pitchFamily="18" charset="0"/>
                          <a:cs typeface="Arial"/>
                        </a:rPr>
                        <a:t>-</a:t>
                      </a:r>
                      <a:endParaRPr lang="en-US" sz="1300" b="0" i="0" u="none" strike="noStrike">
                        <a:effectLst/>
                        <a:latin typeface="+mn-lt"/>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15019041"/>
                  </a:ext>
                </a:extLst>
              </a:tr>
              <a:tr h="308532">
                <a:tc>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Per license capacity</a:t>
                      </a:r>
                      <a:endParaRPr lang="en-US" sz="1300" b="1" i="0" u="none" strike="noStrike">
                        <a:solidFill>
                          <a:srgbClr val="002060"/>
                        </a:solidFill>
                        <a:effectLst/>
                        <a:latin typeface="+mn-lt"/>
                        <a:cs typeface="Arial"/>
                      </a:endParaRPr>
                    </a:p>
                  </a:txBody>
                  <a:tcPr marL="27305" marR="18415" marT="9525"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none" strike="noStrike" kern="1200" dirty="0">
                          <a:solidFill>
                            <a:schemeClr val="tx1"/>
                          </a:solidFill>
                          <a:effectLst/>
                          <a:latin typeface="+mn-lt"/>
                          <a:ea typeface="Times New Roman" panose="02020603050405020304" pitchFamily="18" charset="0"/>
                          <a:cs typeface="Segoe UI"/>
                        </a:rPr>
                        <a:t>Daily Power Platform requests</a:t>
                      </a:r>
                      <a:r>
                        <a:rPr lang="en-US" sz="1300" b="0" i="0" u="none" strike="noStrike" kern="1200" baseline="30000" dirty="0">
                          <a:solidFill>
                            <a:schemeClr val="tx1"/>
                          </a:solidFill>
                          <a:effectLst/>
                          <a:latin typeface="+mn-lt"/>
                          <a:ea typeface="Times New Roman" panose="02020603050405020304" pitchFamily="18" charset="0"/>
                          <a:cs typeface="Segoe UI"/>
                        </a:rPr>
                        <a:t>1</a:t>
                      </a:r>
                      <a:endParaRPr lang="en-US" sz="1300" b="0" i="0" u="none" strike="noStrike" dirty="0">
                        <a:solidFill>
                          <a:schemeClr val="tx1"/>
                        </a:solidFill>
                        <a:effectLst/>
                        <a:latin typeface="+mn-lt"/>
                        <a:cs typeface="Segoe UI"/>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FI" sz="1300" b="0" i="0" u="none" strike="noStrike" kern="1200" dirty="0">
                          <a:solidFill>
                            <a:srgbClr val="000000"/>
                          </a:solidFill>
                          <a:effectLst/>
                          <a:latin typeface="+mn-lt"/>
                          <a:ea typeface="Times New Roman" panose="02020603050405020304" pitchFamily="18" charset="0"/>
                          <a:cs typeface="Arial" panose="020B0604020202020204" pitchFamily="34" charset="0"/>
                        </a:rPr>
                        <a:t>6</a:t>
                      </a:r>
                      <a:r>
                        <a:rPr lang="en-US" sz="1300" b="0" i="0" u="none" strike="noStrike" kern="1200" dirty="0">
                          <a:solidFill>
                            <a:srgbClr val="000000"/>
                          </a:solidFill>
                          <a:effectLst/>
                          <a:latin typeface="+mn-lt"/>
                          <a:ea typeface="Times New Roman" panose="02020603050405020304" pitchFamily="18" charset="0"/>
                          <a:cs typeface="Arial" panose="020B0604020202020204" pitchFamily="34" charset="0"/>
                        </a:rPr>
                        <a:t>,000</a:t>
                      </a:r>
                      <a:endParaRPr lang="en-US" sz="1300" b="0" i="0" u="none" strike="noStrike" dirty="0">
                        <a:effectLst/>
                        <a:latin typeface="+mn-lt"/>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845647323"/>
                  </a:ext>
                </a:extLst>
              </a:tr>
            </a:tbl>
          </a:graphicData>
        </a:graphic>
      </p:graphicFrame>
      <p:sp>
        <p:nvSpPr>
          <p:cNvPr id="8" name="TextBox 7">
            <a:extLst>
              <a:ext uri="{FF2B5EF4-FFF2-40B4-BE49-F238E27FC236}">
                <a16:creationId xmlns:a16="http://schemas.microsoft.com/office/drawing/2014/main" id="{181B4D12-5201-4388-9C34-B3B9085BA003}"/>
              </a:ext>
            </a:extLst>
          </p:cNvPr>
          <p:cNvSpPr txBox="1"/>
          <p:nvPr/>
        </p:nvSpPr>
        <p:spPr>
          <a:xfrm>
            <a:off x="84250" y="6417927"/>
            <a:ext cx="12414835" cy="240066"/>
          </a:xfrm>
          <a:prstGeom prst="rect">
            <a:avLst/>
          </a:prstGeom>
          <a:noFill/>
        </p:spPr>
        <p:txBody>
          <a:bodyPr wrap="square" lIns="91440" tIns="45720" rIns="91440" bIns="45720" anchor="t">
            <a:spAutoFit/>
          </a:bodyPr>
          <a:lstStyle/>
          <a:p>
            <a:pPr marL="64135" marR="0" indent="-64135">
              <a:lnSpc>
                <a:spcPct val="80000"/>
              </a:lnSpc>
              <a:spcBef>
                <a:spcPts val="0"/>
              </a:spcBef>
              <a:spcAft>
                <a:spcPts val="0"/>
              </a:spcAft>
            </a:pPr>
            <a:r>
              <a:rPr lang="en-US" sz="1200" baseline="30000" dirty="0">
                <a:solidFill>
                  <a:srgbClr val="4D4D4D"/>
                </a:solidFill>
                <a:latin typeface="Segoe UI"/>
                <a:ea typeface="MS Mincho"/>
                <a:cs typeface="Segoe UI"/>
              </a:rPr>
              <a:t>1</a:t>
            </a:r>
            <a:r>
              <a:rPr lang="en-US" sz="1200" dirty="0">
                <a:solidFill>
                  <a:srgbClr val="4D4D4D"/>
                </a:solidFill>
                <a:effectLst/>
                <a:latin typeface="Segoe UI"/>
                <a:ea typeface="MS Mincho"/>
                <a:cs typeface="Segoe UI"/>
              </a:rPr>
              <a:t> Reference </a:t>
            </a:r>
            <a:r>
              <a:rPr lang="en-US" sz="1200" u="sng" dirty="0">
                <a:solidFill>
                  <a:srgbClr val="4D4D4D"/>
                </a:solidFill>
                <a:effectLst/>
                <a:latin typeface="Segoe UI"/>
                <a:ea typeface="MS Mincho"/>
                <a:cs typeface="Segoe UI"/>
                <a:hlinkClick r:id="rId6"/>
              </a:rPr>
              <a:t>http://aka.ms/platformlimits</a:t>
            </a:r>
            <a:r>
              <a:rPr lang="en-US" sz="1200" dirty="0">
                <a:solidFill>
                  <a:srgbClr val="4D4D4D"/>
                </a:solidFill>
                <a:effectLst/>
                <a:latin typeface="Segoe UI"/>
                <a:ea typeface="MS Mincho"/>
                <a:cs typeface="Segoe UI"/>
              </a:rPr>
              <a:t> for more details on usage limits; “Power Apps and Power Automate capacity add-on” can be purchased to increase daily service limits.</a:t>
            </a:r>
          </a:p>
        </p:txBody>
      </p:sp>
    </p:spTree>
    <p:custDataLst>
      <p:tags r:id="rId1"/>
    </p:custDataLst>
    <p:extLst>
      <p:ext uri="{BB962C8B-B14F-4D97-AF65-F5344CB8AC3E}">
        <p14:creationId xmlns:p14="http://schemas.microsoft.com/office/powerpoint/2010/main" val="405815655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be0c2434-e22e-4c88-8982-07c51a438594"/>
  <p:tag name="MIO_UPDATE" val="True"/>
  <p:tag name="MIO_VERSION" val="30.03.2020 15:44:06"/>
  <p:tag name="MIO_DBID" val="12b0c59e-2253-4124-a5e9-470adf4cb168"/>
  <p:tag name="MIO_LASTDOWNLOADED" val="30.03.2020 15:44:52"/>
  <p:tag name="MIO_OBJECTNAME" val="Learning 2"/>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be0c2434-e22e-4c88-8982-07c51a438594"/>
  <p:tag name="MIO_UPDATE" val="True"/>
  <p:tag name="MIO_VERSION" val="30.03.2020 15:44:06"/>
  <p:tag name="MIO_DBID" val="12b0c59e-2253-4124-a5e9-470adf4cb168"/>
  <p:tag name="MIO_LASTDOWNLOADED" val="30.03.2020 15:44:52"/>
  <p:tag name="MIO_OBJECTNAME" val="Learning 2"/>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0.xml><?xml version="1.0" encoding="utf-8"?>
<p:properties xmlns:p="http://schemas.microsoft.com/office/2006/metadata/properties" xmlns:xsi="http://www.w3.org/2001/XMLSchema-instance" xmlns:pc="http://schemas.microsoft.com/office/infopath/2007/PartnerControls">
  <documentManagement>
    <MediaServiceKeyPoints xmlns="2e7e8d61-2432-4966-bff6-afe7197066b3" xsi:nil="true"/>
    <OneNoteFluid_FileOrder xmlns="2e7e8d61-2432-4966-bff6-afe7197066b3" xsi:nil="true"/>
  </documentManagement>
</p:properties>
</file>

<file path=customXml/item3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8.xml><?xml version="1.0" encoding="utf-8"?>
<ct:contentTypeSchema xmlns:ct="http://schemas.microsoft.com/office/2006/metadata/contentType" xmlns:ma="http://schemas.microsoft.com/office/2006/metadata/properties/metaAttributes" ct:_="" ma:_="" ma:contentTypeName="Document" ma:contentTypeID="0x0101007D353A4BAC0BD843BAFA27F789CCDA2E" ma:contentTypeVersion="13" ma:contentTypeDescription="Create a new document." ma:contentTypeScope="" ma:versionID="c2affa55d475b138ac446f624bb8430c">
  <xsd:schema xmlns:xsd="http://www.w3.org/2001/XMLSchema" xmlns:xs="http://www.w3.org/2001/XMLSchema" xmlns:p="http://schemas.microsoft.com/office/2006/metadata/properties" xmlns:ns2="2e7e8d61-2432-4966-bff6-afe7197066b3" xmlns:ns3="cdddad68-33dc-4597-bc2d-2f12ac7da19b" targetNamespace="http://schemas.microsoft.com/office/2006/metadata/properties" ma:root="true" ma:fieldsID="409ac7ef287357ce837091c19bd17a82" ns2:_="" ns3:_="">
    <xsd:import namespace="2e7e8d61-2432-4966-bff6-afe7197066b3"/>
    <xsd:import namespace="cdddad68-33dc-4597-bc2d-2f12ac7da19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OneNoteFluid_FileOrde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e8d61-2432-4966-bff6-afe7197066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OneNoteFluid_FileOrder" ma:index="18" nillable="true" ma:displayName="OneNoteFluid_FileOrder" ma:internalName="OneNoteFluid_FileOrder">
      <xsd:simpleType>
        <xsd:restriction base="dms:Text">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dddad68-33dc-4597-bc2d-2f12ac7da19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9.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08068EAD-DA6C-4DC8-843E-9CB0982D15F3}">
  <ds:schemaRefs>
    <ds:schemaRef ds:uri="Strauss.PersonalizationDefinition"/>
  </ds:schemaRefs>
</ds:datastoreItem>
</file>

<file path=customXml/itemProps10.xml><?xml version="1.0" encoding="utf-8"?>
<ds:datastoreItem xmlns:ds="http://schemas.openxmlformats.org/officeDocument/2006/customXml" ds:itemID="{BC268A45-186B-46A3-937F-0E016CEA70C1}">
  <ds:schemaRefs>
    <ds:schemaRef ds:uri="Strauss.PersonalizationDefinition"/>
  </ds:schemaRefs>
</ds:datastoreItem>
</file>

<file path=customXml/itemProps11.xml><?xml version="1.0" encoding="utf-8"?>
<ds:datastoreItem xmlns:ds="http://schemas.openxmlformats.org/officeDocument/2006/customXml" ds:itemID="{734F6CED-B619-41E0-BEDE-58B64D5F5EB2}">
  <ds:schemaRefs>
    <ds:schemaRef ds:uri="Strauss.PersonalizationDefinition"/>
  </ds:schemaRefs>
</ds:datastoreItem>
</file>

<file path=customXml/itemProps12.xml><?xml version="1.0" encoding="utf-8"?>
<ds:datastoreItem xmlns:ds="http://schemas.openxmlformats.org/officeDocument/2006/customXml" ds:itemID="{32920470-F086-4197-B6FE-12027DE25DCC}">
  <ds:schemaRefs>
    <ds:schemaRef ds:uri="Strauss.PersonalizationDefinition"/>
  </ds:schemaRefs>
</ds:datastoreItem>
</file>

<file path=customXml/itemProps13.xml><?xml version="1.0" encoding="utf-8"?>
<ds:datastoreItem xmlns:ds="http://schemas.openxmlformats.org/officeDocument/2006/customXml" ds:itemID="{82C716E8-B770-4139-99B0-F35B9C64B90F}">
  <ds:schemaRefs>
    <ds:schemaRef ds:uri="Strauss.PersonalizationDefinition"/>
  </ds:schemaRefs>
</ds:datastoreItem>
</file>

<file path=customXml/itemProps14.xml><?xml version="1.0" encoding="utf-8"?>
<ds:datastoreItem xmlns:ds="http://schemas.openxmlformats.org/officeDocument/2006/customXml" ds:itemID="{103AB8E4-C30A-4895-9606-8D77F2E70F19}">
  <ds:schemaRefs>
    <ds:schemaRef ds:uri="Strauss.PersonalizationDefinition"/>
  </ds:schemaRefs>
</ds:datastoreItem>
</file>

<file path=customXml/itemProps15.xml><?xml version="1.0" encoding="utf-8"?>
<ds:datastoreItem xmlns:ds="http://schemas.openxmlformats.org/officeDocument/2006/customXml" ds:itemID="{FBC13881-F2DC-4AA3-88C8-97C40CA1EBC7}">
  <ds:schemaRefs>
    <ds:schemaRef ds:uri="Strauss.PersonalizationDefinition"/>
  </ds:schemaRefs>
</ds:datastoreItem>
</file>

<file path=customXml/itemProps16.xml><?xml version="1.0" encoding="utf-8"?>
<ds:datastoreItem xmlns:ds="http://schemas.openxmlformats.org/officeDocument/2006/customXml" ds:itemID="{4EA01338-72BB-48B6-B6A4-05B31FE21105}">
  <ds:schemaRefs>
    <ds:schemaRef ds:uri="Strauss.PersonalizationDefinition"/>
  </ds:schemaRefs>
</ds:datastoreItem>
</file>

<file path=customXml/itemProps17.xml><?xml version="1.0" encoding="utf-8"?>
<ds:datastoreItem xmlns:ds="http://schemas.openxmlformats.org/officeDocument/2006/customXml" ds:itemID="{5C919DC8-E31E-42F0-9621-B916C2E029BA}">
  <ds:schemaRefs>
    <ds:schemaRef ds:uri="Strauss.PersonalizationDefinition"/>
  </ds:schemaRefs>
</ds:datastoreItem>
</file>

<file path=customXml/itemProps18.xml><?xml version="1.0" encoding="utf-8"?>
<ds:datastoreItem xmlns:ds="http://schemas.openxmlformats.org/officeDocument/2006/customXml" ds:itemID="{2BCFCE7B-4A43-491B-887D-365E2A1C50B2}">
  <ds:schemaRefs>
    <ds:schemaRef ds:uri="Strauss.PersonalizationDefinition"/>
  </ds:schemaRefs>
</ds:datastoreItem>
</file>

<file path=customXml/itemProps19.xml><?xml version="1.0" encoding="utf-8"?>
<ds:datastoreItem xmlns:ds="http://schemas.openxmlformats.org/officeDocument/2006/customXml" ds:itemID="{F56EB5D8-3CD5-48EE-9536-13CF2B9AC25D}">
  <ds:schemaRefs>
    <ds:schemaRef ds:uri="Strauss.PersonalizationDefinition"/>
  </ds:schemaRefs>
</ds:datastoreItem>
</file>

<file path=customXml/itemProps2.xml><?xml version="1.0" encoding="utf-8"?>
<ds:datastoreItem xmlns:ds="http://schemas.openxmlformats.org/officeDocument/2006/customXml" ds:itemID="{13A5538B-5199-4900-941A-B01E377F2065}">
  <ds:schemaRefs>
    <ds:schemaRef ds:uri="Strauss.PersonalizationDefinition"/>
  </ds:schemaRefs>
</ds:datastoreItem>
</file>

<file path=customXml/itemProps20.xml><?xml version="1.0" encoding="utf-8"?>
<ds:datastoreItem xmlns:ds="http://schemas.openxmlformats.org/officeDocument/2006/customXml" ds:itemID="{FC25CD5D-A9DA-407F-9106-47BDA14BCED9}">
  <ds:schemaRefs>
    <ds:schemaRef ds:uri="Strauss.PersonalizationDefinition"/>
  </ds:schemaRefs>
</ds:datastoreItem>
</file>

<file path=customXml/itemProps21.xml><?xml version="1.0" encoding="utf-8"?>
<ds:datastoreItem xmlns:ds="http://schemas.openxmlformats.org/officeDocument/2006/customXml" ds:itemID="{E7EBEF02-C69B-46E0-B38A-E51611CE5254}">
  <ds:schemaRefs>
    <ds:schemaRef ds:uri="Strauss.PersonalizationDefinition"/>
  </ds:schemaRefs>
</ds:datastoreItem>
</file>

<file path=customXml/itemProps22.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23.xml><?xml version="1.0" encoding="utf-8"?>
<ds:datastoreItem xmlns:ds="http://schemas.openxmlformats.org/officeDocument/2006/customXml" ds:itemID="{68BE9F8F-073F-46B7-B2D0-86DC8E2E9DCE}">
  <ds:schemaRefs>
    <ds:schemaRef ds:uri="Strauss.PersonalizationDefinition"/>
  </ds:schemaRefs>
</ds:datastoreItem>
</file>

<file path=customXml/itemProps24.xml><?xml version="1.0" encoding="utf-8"?>
<ds:datastoreItem xmlns:ds="http://schemas.openxmlformats.org/officeDocument/2006/customXml" ds:itemID="{C1060A51-5976-4775-97EE-ABE1B1E4972A}">
  <ds:schemaRefs>
    <ds:schemaRef ds:uri="Strauss.PersonalizationDefinition"/>
  </ds:schemaRefs>
</ds:datastoreItem>
</file>

<file path=customXml/itemProps25.xml><?xml version="1.0" encoding="utf-8"?>
<ds:datastoreItem xmlns:ds="http://schemas.openxmlformats.org/officeDocument/2006/customXml" ds:itemID="{B228D3F7-8445-4CE7-92DC-AC7FE2D5A2AF}">
  <ds:schemaRefs>
    <ds:schemaRef ds:uri="Strauss.PersonalizationDefinition"/>
  </ds:schemaRefs>
</ds:datastoreItem>
</file>

<file path=customXml/itemProps26.xml><?xml version="1.0" encoding="utf-8"?>
<ds:datastoreItem xmlns:ds="http://schemas.openxmlformats.org/officeDocument/2006/customXml" ds:itemID="{7BE5F28F-50CA-40F1-A02E-E794FE33362D}">
  <ds:schemaRefs>
    <ds:schemaRef ds:uri="Strauss.PersonalizationDefinition"/>
  </ds:schemaRefs>
</ds:datastoreItem>
</file>

<file path=customXml/itemProps27.xml><?xml version="1.0" encoding="utf-8"?>
<ds:datastoreItem xmlns:ds="http://schemas.openxmlformats.org/officeDocument/2006/customXml" ds:itemID="{B09E3EAE-66CA-4A91-A5FE-A34A70B099ED}">
  <ds:schemaRefs>
    <ds:schemaRef ds:uri="Strauss.PersonalizationDefinition"/>
  </ds:schemaRefs>
</ds:datastoreItem>
</file>

<file path=customXml/itemProps28.xml><?xml version="1.0" encoding="utf-8"?>
<ds:datastoreItem xmlns:ds="http://schemas.openxmlformats.org/officeDocument/2006/customXml" ds:itemID="{EF4AA5EB-A638-4D3A-B852-E71E18ED4953}">
  <ds:schemaRefs>
    <ds:schemaRef ds:uri="Strauss.PersonalizationDefinition"/>
  </ds:schemaRefs>
</ds:datastoreItem>
</file>

<file path=customXml/itemProps29.xml><?xml version="1.0" encoding="utf-8"?>
<ds:datastoreItem xmlns:ds="http://schemas.openxmlformats.org/officeDocument/2006/customXml" ds:itemID="{A09B3D8F-A36C-4B6D-871D-C53F61DFD219}">
  <ds:schemaRefs>
    <ds:schemaRef ds:uri="Strauss.PersonalizationDefinition"/>
  </ds:schemaRefs>
</ds:datastoreItem>
</file>

<file path=customXml/itemProps3.xml><?xml version="1.0" encoding="utf-8"?>
<ds:datastoreItem xmlns:ds="http://schemas.openxmlformats.org/officeDocument/2006/customXml" ds:itemID="{D7FDC28F-4CBD-40ED-9D33-0A1360D5DEC4}">
  <ds:schemaRefs>
    <ds:schemaRef ds:uri="Strauss.PersonalizationDefinition"/>
  </ds:schemaRefs>
</ds:datastoreItem>
</file>

<file path=customXml/itemProps30.xml><?xml version="1.0" encoding="utf-8"?>
<ds:datastoreItem xmlns:ds="http://schemas.openxmlformats.org/officeDocument/2006/customXml" ds:itemID="{AC7687D8-5695-4F99-A8BA-1D247B418C22}">
  <ds:schemaRefs>
    <ds:schemaRef ds:uri="http://www.w3.org/XML/1998/namespace"/>
    <ds:schemaRef ds:uri="http://schemas.microsoft.com/office/2006/metadata/properties"/>
    <ds:schemaRef ds:uri="2e7e8d61-2432-4966-bff6-afe7197066b3"/>
    <ds:schemaRef ds:uri="cdddad68-33dc-4597-bc2d-2f12ac7da19b"/>
    <ds:schemaRef ds:uri="http://schemas.openxmlformats.org/package/2006/metadata/core-properties"/>
    <ds:schemaRef ds:uri="http://purl.org/dc/terms/"/>
    <ds:schemaRef ds:uri="http://purl.org/dc/elements/1.1/"/>
    <ds:schemaRef ds:uri="http://schemas.microsoft.com/office/2006/documentManagement/types"/>
    <ds:schemaRef ds:uri="http://schemas.microsoft.com/office/infopath/2007/PartnerControls"/>
    <ds:schemaRef ds:uri="http://purl.org/dc/dcmitype/"/>
  </ds:schemaRefs>
</ds:datastoreItem>
</file>

<file path=customXml/itemProps31.xml><?xml version="1.0" encoding="utf-8"?>
<ds:datastoreItem xmlns:ds="http://schemas.openxmlformats.org/officeDocument/2006/customXml" ds:itemID="{D55AC15F-0A03-4D96-AA43-65FC3DCE2717}">
  <ds:schemaRefs>
    <ds:schemaRef ds:uri="Strauss.PersonalizationDefinition"/>
  </ds:schemaRefs>
</ds:datastoreItem>
</file>

<file path=customXml/itemProps32.xml><?xml version="1.0" encoding="utf-8"?>
<ds:datastoreItem xmlns:ds="http://schemas.openxmlformats.org/officeDocument/2006/customXml" ds:itemID="{ECCE7DC3-F525-4E76-8812-56FCA2D21E50}">
  <ds:schemaRefs>
    <ds:schemaRef ds:uri="Strauss.PersonalizationDefinition"/>
  </ds:schemaRefs>
</ds:datastoreItem>
</file>

<file path=customXml/itemProps33.xml><?xml version="1.0" encoding="utf-8"?>
<ds:datastoreItem xmlns:ds="http://schemas.openxmlformats.org/officeDocument/2006/customXml" ds:itemID="{4C485A9E-99A8-4277-BE90-E837A967DB2E}">
  <ds:schemaRefs>
    <ds:schemaRef ds:uri="Strauss.PersonalizationDefinition"/>
  </ds:schemaRefs>
</ds:datastoreItem>
</file>

<file path=customXml/itemProps34.xml><?xml version="1.0" encoding="utf-8"?>
<ds:datastoreItem xmlns:ds="http://schemas.openxmlformats.org/officeDocument/2006/customXml" ds:itemID="{628127A0-F2C3-45C3-BB9F-5B29A6B848BE}">
  <ds:schemaRefs>
    <ds:schemaRef ds:uri="Strauss.PersonalizationDefinition"/>
  </ds:schemaRefs>
</ds:datastoreItem>
</file>

<file path=customXml/itemProps35.xml><?xml version="1.0" encoding="utf-8"?>
<ds:datastoreItem xmlns:ds="http://schemas.openxmlformats.org/officeDocument/2006/customXml" ds:itemID="{6F485757-9F3C-4A1E-9E86-E1C1551910BA}">
  <ds:schemaRefs>
    <ds:schemaRef ds:uri="Strauss.PersonalizationDefinition"/>
  </ds:schemaRefs>
</ds:datastoreItem>
</file>

<file path=customXml/itemProps36.xml><?xml version="1.0" encoding="utf-8"?>
<ds:datastoreItem xmlns:ds="http://schemas.openxmlformats.org/officeDocument/2006/customXml" ds:itemID="{541D4602-AC17-4CBD-B95E-D5B3D757BC54}">
  <ds:schemaRefs>
    <ds:schemaRef ds:uri="Strauss.PersonalizationDefinition"/>
  </ds:schemaRefs>
</ds:datastoreItem>
</file>

<file path=customXml/itemProps37.xml><?xml version="1.0" encoding="utf-8"?>
<ds:datastoreItem xmlns:ds="http://schemas.openxmlformats.org/officeDocument/2006/customXml" ds:itemID="{712108F3-86F2-4B95-AF2D-FE4E45965FCC}">
  <ds:schemaRefs>
    <ds:schemaRef ds:uri="Strauss.PersonalizationDefinition"/>
  </ds:schemaRefs>
</ds:datastoreItem>
</file>

<file path=customXml/itemProps38.xml><?xml version="1.0" encoding="utf-8"?>
<ds:datastoreItem xmlns:ds="http://schemas.openxmlformats.org/officeDocument/2006/customXml" ds:itemID="{538E5DE2-03E3-47E2-A3B7-C425465A83DA}"/>
</file>

<file path=customXml/itemProps39.xml><?xml version="1.0" encoding="utf-8"?>
<ds:datastoreItem xmlns:ds="http://schemas.openxmlformats.org/officeDocument/2006/customXml" ds:itemID="{AB03CB6A-9C04-4171-A3C0-E1F8D86BBCF4}">
  <ds:schemaRefs>
    <ds:schemaRef ds:uri="Strauss.PersonalizationDefinition"/>
  </ds:schemaRefs>
</ds:datastoreItem>
</file>

<file path=customXml/itemProps4.xml><?xml version="1.0" encoding="utf-8"?>
<ds:datastoreItem xmlns:ds="http://schemas.openxmlformats.org/officeDocument/2006/customXml" ds:itemID="{DF333A1B-0A9C-4DA8-ADAB-4378B69FDC48}">
  <ds:schemaRefs>
    <ds:schemaRef ds:uri="Strauss.PersonalizationDefinition"/>
  </ds:schemaRefs>
</ds:datastoreItem>
</file>

<file path=customXml/itemProps40.xml><?xml version="1.0" encoding="utf-8"?>
<ds:datastoreItem xmlns:ds="http://schemas.openxmlformats.org/officeDocument/2006/customXml" ds:itemID="{2C977E4A-7DA3-467A-BB6B-D27CA791F504}">
  <ds:schemaRefs>
    <ds:schemaRef ds:uri="Strauss.PersonalizationDefinition"/>
  </ds:schemaRefs>
</ds:datastoreItem>
</file>

<file path=customXml/itemProps5.xml><?xml version="1.0" encoding="utf-8"?>
<ds:datastoreItem xmlns:ds="http://schemas.openxmlformats.org/officeDocument/2006/customXml" ds:itemID="{6552B3D2-5F72-49FB-8B35-AFE12BF36804}">
  <ds:schemaRefs>
    <ds:schemaRef ds:uri="Strauss.PersonalizationDefinition"/>
  </ds:schemaRefs>
</ds:datastoreItem>
</file>

<file path=customXml/itemProps6.xml><?xml version="1.0" encoding="utf-8"?>
<ds:datastoreItem xmlns:ds="http://schemas.openxmlformats.org/officeDocument/2006/customXml" ds:itemID="{DE0DC7DC-A960-4E6E-BF1B-D3D906B081A2}">
  <ds:schemaRefs>
    <ds:schemaRef ds:uri="Strauss.PersonalizationDefinition"/>
  </ds:schemaRefs>
</ds:datastoreItem>
</file>

<file path=customXml/itemProps7.xml><?xml version="1.0" encoding="utf-8"?>
<ds:datastoreItem xmlns:ds="http://schemas.openxmlformats.org/officeDocument/2006/customXml" ds:itemID="{4A3F169F-E27D-4A25-888C-4C5D83BAC082}">
  <ds:schemaRefs>
    <ds:schemaRef ds:uri="Strauss.PersonalizationDefinition"/>
  </ds:schemaRefs>
</ds:datastoreItem>
</file>

<file path=customXml/itemProps8.xml><?xml version="1.0" encoding="utf-8"?>
<ds:datastoreItem xmlns:ds="http://schemas.openxmlformats.org/officeDocument/2006/customXml" ds:itemID="{EDFBA6C8-3A38-44F0-B645-B6B0034983DA}">
  <ds:schemaRefs>
    <ds:schemaRef ds:uri="Strauss.PersonalizationDefinition"/>
  </ds:schemaRefs>
</ds:datastoreItem>
</file>

<file path=customXml/itemProps9.xml><?xml version="1.0" encoding="utf-8"?>
<ds:datastoreItem xmlns:ds="http://schemas.openxmlformats.org/officeDocument/2006/customXml" ds:itemID="{406127A5-B8F7-4F8A-95A9-8E20F72EA129}">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0</TotalTime>
  <Words>1842</Words>
  <Application>Microsoft Office PowerPoint</Application>
  <PresentationFormat>Widescreen</PresentationFormat>
  <Paragraphs>336</Paragraphs>
  <Slides>15</Slides>
  <Notes>15</Notes>
  <HiddenSlides>1</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15</vt:i4>
      </vt:variant>
    </vt:vector>
  </HeadingPairs>
  <TitlesOfParts>
    <vt:vector size="30" baseType="lpstr">
      <vt:lpstr>&amp;quot</vt:lpstr>
      <vt:lpstr>Arial</vt:lpstr>
      <vt:lpstr>Calibri</vt:lpstr>
      <vt:lpstr>Calibri Light</vt:lpstr>
      <vt:lpstr>Comic Sans MS</vt:lpstr>
      <vt:lpstr>Consolas</vt:lpstr>
      <vt:lpstr>Courier New</vt:lpstr>
      <vt:lpstr>Segoe UI</vt:lpstr>
      <vt:lpstr>Segoe UI Light</vt:lpstr>
      <vt:lpstr>Segoe UI Semibold</vt:lpstr>
      <vt:lpstr>Segoe UI Semilight</vt:lpstr>
      <vt:lpstr>Symbol</vt:lpstr>
      <vt:lpstr>Wingdings</vt:lpstr>
      <vt:lpstr>Dark Blue</vt:lpstr>
      <vt:lpstr>1_Dynamics 365</vt:lpstr>
      <vt:lpstr>Power Platform Governance CoE License Requirements</vt:lpstr>
      <vt:lpstr>Disclaimer</vt:lpstr>
      <vt:lpstr>Power Apps and Power Automate  License Plans</vt:lpstr>
      <vt:lpstr>Power Apps standalone plans</vt:lpstr>
      <vt:lpstr>Power Automate (Flow) within app context</vt:lpstr>
      <vt:lpstr>Power Apps per app pay-as-you-go (PAYG)</vt:lpstr>
      <vt:lpstr>Power Apps for Office 365 (seeded license)</vt:lpstr>
      <vt:lpstr>Power Automate standalone plans</vt:lpstr>
      <vt:lpstr>Power Automate for Office 365 (seeded plan)</vt:lpstr>
      <vt:lpstr>Power Apps and Automate capacity add-on</vt:lpstr>
      <vt:lpstr>Dataverse capacity add-on</vt:lpstr>
      <vt:lpstr>Center of Excellence Starter Kit Licensing Requirements</vt:lpstr>
      <vt:lpstr>Center of Excellence Starter Kit Licensing Requirements</vt:lpstr>
      <vt:lpstr>Power BI Dashboard</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lastModifiedBy>Suparna Banerjee</cp:lastModifiedBy>
  <cp:revision>118</cp:revision>
  <dcterms:created xsi:type="dcterms:W3CDTF">2019-02-08T20:09:46Z</dcterms:created>
  <dcterms:modified xsi:type="dcterms:W3CDTF">2022-03-18T11:3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7D353A4BAC0BD843BAFA27F789CCDA2E</vt:lpwstr>
  </property>
  <property fmtid="{D5CDD505-2E9C-101B-9397-08002B2CF9AE}" pid="12" name="_dlc_DocIdItemGuid">
    <vt:lpwstr>faeaa986-2e78-4567-bd40-f1286550cf24</vt:lpwstr>
  </property>
</Properties>
</file>